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rels" ContentType="application/vnd.openxmlformats-package.relationships+xml"/>
  <Default Extension="jpeg" ContentType="image/jpeg"/>
  <Default Extension="emf" ContentType="image/x-emf"/>
  <Default Extension="xml" ContentType="application/xml"/>
  <Default Extension="vml" ContentType="application/vnd.openxmlformats-officedocument.vmlDrawing"/>
  <Override PartName="/docProps/app.xml" ContentType="application/vnd.openxmlformats-officedocument.extended-properties+xml"/>
  <Override PartName="/docProps/core.xml" ContentType="application/vnd.openxmlformats-package.core-propertie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olors1.xml" ContentType="application/vnd.ms-office.chartcolorstyle+xml"/>
  <Override PartName="/ppt/charts/colors2.xml" ContentType="application/vnd.ms-office.chartcolorstyle+xml"/>
  <Override PartName="/ppt/charts/colors3.xml" ContentType="application/vnd.ms-office.chartcolorstyle+xml"/>
  <Override PartName="/ppt/charts/style1.xml" ContentType="application/vnd.ms-office.chartstyle+xml"/>
  <Override PartName="/ppt/charts/style2.xml" ContentType="application/vnd.ms-office.chartstyle+xml"/>
  <Override PartName="/ppt/charts/style3.xml" ContentType="application/vnd.ms-office.chartstyle+xml"/>
  <Override PartName="/ppt/commentAuthors.xml" ContentType="application/vnd.openxmlformats-officedocument.presentationml.commentAuthors+xml"/>
  <Override PartName="/ppt/drawings/drawing1.xml" ContentType="application/vnd.openxmlformats-officedocument.drawingml.chartshapes+xml"/>
  <Override PartName="/ppt/drawings/drawing2.xml" ContentType="application/vnd.openxmlformats-officedocument.drawingml.chartshapes+xml"/>
  <Override PartName="/ppt/drawings/drawing3.xml" ContentType="application/vnd.openxmlformats-officedocument.drawingml.chartshap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presentation.xml" ContentType="application/vnd.openxmlformats-officedocument.presentationml.presentation.main+xml"/>
  <Override PartName="/ppt/presProps.xml" ContentType="application/vnd.openxmlformats-officedocument.presentationml.presProps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package/2006/relationships/metadata/thumbnail" Target="docProps/thumbnail.jpeg"/></Relationships>
</file>

<file path=ppt/presentation.xml><?xml version="1.0" encoding="utf-8"?>
<!--Generated by Aspose.Slides for .NET 22.9-->
<p:presentation xmlns:r="http://schemas.openxmlformats.org/officeDocument/2006/relationships" xmlns:a="http://schemas.openxmlformats.org/drawingml/2006/main" xmlns:p="http://schemas.openxmlformats.org/presentationml/2006/main" firstSlideNum="19" strictFirstAndLastChars="0" saveSubsetFonts="1" autoCompressPictures="0">
  <p:sldMasterIdLst>
    <p:sldMasterId id="2147483693" r:id="rId2"/>
  </p:sldMasterIdLst>
  <p:notesMasterIdLst>
    <p:notesMasterId r:id="rId3"/>
  </p:notesMasterIdLst>
  <p:handoutMasterIdLst>
    <p:handoutMasterId r:id="rId4"/>
  </p:handoutMasterIdLst>
  <p:sldIdLst>
    <p:sldId id="1441" r:id="rId5"/>
    <p:sldId id="1608" r:id="rId6"/>
    <p:sldId id="1609" r:id="rId7"/>
    <p:sldId id="1610" r:id="rId8"/>
    <p:sldId id="1611" r:id="rId9"/>
    <p:sldId id="1612" r:id="rId10"/>
  </p:sldIdLst>
  <p:sldSz cx="12192000" cy="6858000"/>
  <p:notesSz cx="7010400" cy="9296400"/>
  <p:custDataLst>
    <p:tags r:id="rId11"/>
  </p:custDataLst>
  <p:defaultTextStyle>
    <a:defPPr marR="0" lvl="0" algn="l" rtl="0">
      <a:lnSpc>
        <a:spcPct val="100000"/>
      </a:lnSpc>
      <a:spcBef>
        <a:spcPct val="0"/>
      </a:spcBef>
      <a:spcAft>
        <a:spcPct val="0"/>
      </a:spcAft>
    </a:defPPr>
    <a:lvl1pPr marR="0" lvl="0" algn="l" rtl="0">
      <a:lnSpc>
        <a:spcPct val="100000"/>
      </a:lnSpc>
      <a:spcBef>
        <a:spcPct val="0"/>
      </a:spcBef>
      <a:spcAft>
        <a:spcPct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ct val="0"/>
      </a:spcBef>
      <a:spcAft>
        <a:spcPct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ct val="0"/>
      </a:spcBef>
      <a:spcAft>
        <a:spcPct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ct val="0"/>
      </a:spcBef>
      <a:spcAft>
        <a:spcPct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ct val="0"/>
      </a:spcBef>
      <a:spcAft>
        <a:spcPct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ct val="0"/>
      </a:spcBef>
      <a:spcAft>
        <a:spcPct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ct val="0"/>
      </a:spcBef>
      <a:spcAft>
        <a:spcPct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ct val="0"/>
      </a:spcBef>
      <a:spcAft>
        <a:spcPct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ct val="0"/>
      </a:spcBef>
      <a:spcAft>
        <a:spcPct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p="http://schemas.openxmlformats.org/presentationml/2006/main">
  <p:cmAuthor id="0" name="Mike Bobek (US - Advisory)" initials="" lastIdx="0" clrIdx="12"/>
  <p:cmAuthor id="7" name="Carl R Miller" initials="CRM" lastIdx="0" clrIdx="10">
    <p:extLst>
      <p:ext uri="{19B8F6BF-5375-455C-9EA6-DF929625EA0E}">
        <p15:presenceInfo xmlns:p15="http://schemas.microsoft.com/office/powerpoint/2012/main" userId="Carl R Miller" providerId="None"/>
      </p:ext>
    </p:extLst>
  </p:cmAuthor>
  <p:cmAuthor id="1" name="Barbara Poenisch (US - Advisory)" initials="" lastIdx="0" clrIdx="13"/>
  <p:cmAuthor id="8" name="Vogelweid, Eric J." initials="VEJ" lastIdx="0" clrIdx="11">
    <p:extLst>
      <p:ext uri="{19B8F6BF-5375-455C-9EA6-DF929625EA0E}">
        <p15:presenceInfo xmlns:p15="http://schemas.microsoft.com/office/powerpoint/2012/main" userId="S-1-5-21-834601574-676875594-1237804090-49782" providerId="AD"/>
      </p:ext>
    </p:extLst>
  </p:cmAuthor>
  <p:cmAuthor id="2" name="David E Church" initials="DEC" lastIdx="0" clrIdx="2">
    <p:extLst>
      <p:ext uri="{19B8F6BF-5375-455C-9EA6-DF929625EA0E}">
        <p15:presenceInfo xmlns:p15="http://schemas.microsoft.com/office/powerpoint/2012/main" userId="S-1-5-21-372416507-3140574786-2943197521-603787" providerId="AD"/>
      </p:ext>
    </p:extLst>
  </p:cmAuthor>
  <p:cmAuthor id="9" name="Vogelweid, Eric J." initials="VEJ [2]" lastIdx="0" clrIdx="14">
    <p:extLst>
      <p:ext uri="{19B8F6BF-5375-455C-9EA6-DF929625EA0E}">
        <p15:presenceInfo xmlns:p15="http://schemas.microsoft.com/office/powerpoint/2012/main" userId="S::vogelweidej@umsystem.edu::b2ba1ff8-3e8e-4b6f-898d-6bf5473b0cb7" providerId="AD"/>
      </p:ext>
    </p:extLst>
  </p:cmAuthor>
  <p:cmAuthor id="3" name="Robert A Bailen" initials="RAB" lastIdx="0" clrIdx="3">
    <p:extLst>
      <p:ext uri="{19B8F6BF-5375-455C-9EA6-DF929625EA0E}">
        <p15:presenceInfo xmlns:p15="http://schemas.microsoft.com/office/powerpoint/2012/main" userId="Robert A Bailen" providerId="None"/>
      </p:ext>
    </p:extLst>
  </p:cmAuthor>
  <p:cmAuthor id="4" name="Nicholas Way" initials="NW" lastIdx="0" clrIdx="5">
    <p:extLst>
      <p:ext uri="{19B8F6BF-5375-455C-9EA6-DF929625EA0E}">
        <p15:presenceInfo xmlns:p15="http://schemas.microsoft.com/office/powerpoint/2012/main" userId="Nicholas Way" providerId="None"/>
      </p:ext>
    </p:extLst>
  </p:cmAuthor>
  <p:cmAuthor id="5" name="Thomas W Raymond" initials="TWR" lastIdx="0" clrIdx="6">
    <p:extLst>
      <p:ext uri="{19B8F6BF-5375-455C-9EA6-DF929625EA0E}">
        <p15:presenceInfo xmlns:p15="http://schemas.microsoft.com/office/powerpoint/2012/main" userId="S-1-5-21-372416507-3140574786-2943197521-662824" providerId="AD"/>
      </p:ext>
    </p:extLst>
  </p:cmAuthor>
  <p:cmAuthor id="6" name="Margaret Stover" initials="MS" lastIdx="0" clrIdx="7">
    <p:extLst>
      <p:ext uri="{19B8F6BF-5375-455C-9EA6-DF929625EA0E}">
        <p15:presenceInfo xmlns:p15="http://schemas.microsoft.com/office/powerpoint/2012/main" userId="Margaret Stover" providerId="None"/>
      </p:ext>
    </p:extLst>
  </p:cmAuthor>
  <p:cmAuthor id="16" name="Rogers, Ashley M." initials="RAM" lastIdx="0" clrIdx="15"/>
</p:cmAuthorLst>
</file>

<file path=ppt/presProps.xml><?xml version="1.0" encoding="utf-8"?>
<p:presentationPr xmlns:r="http://schemas.openxmlformats.org/officeDocument/2006/relationships" xmlns:a="http://schemas.openxmlformats.org/drawingml/2006/main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  <p:ext uri="{1BD7E111-0CB8-44D6-8891-C1BB2F81B7CC}">
      <p1710:readonlyRecommended xmlns:p1710="http://schemas.microsoft.com/office/powerpoint/2017/10/main" val="0"/>
    </p:ext>
  </p:extLst>
</p:presentationPr>
</file>

<file path=ppt/tableStyles.xml><?xml version="1.0" encoding="utf-8"?>
<a:tblStyleLst xmlns:r="http://schemas.openxmlformats.org/officeDocument/2006/relationships" xmlns:a="http://schemas.openxmlformats.org/drawingml/2006/main" def="{B52A7725-9B75-4099-BEFD-D72F1B9E8E2F}">
  <a:tblStyle styleId="{B52A7725-9B75-4099-BEFD-D72F1B9E8E2F}" styleName="Table_0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insideV>
        </a:tcBdr>
        <a:fill>
          <a:solidFill>
            <a:srgbClr val="EAEAEC"/>
          </a:solidFill>
        </a:fill>
      </a:tcStyle>
    </a:wholeTbl>
    <a:band1H>
      <a:tcStyle>
        <a:fill>
          <a:solidFill>
            <a:srgbClr val="D2D3D6"/>
          </a:solidFill>
        </a:fill>
      </a:tcStyle>
    </a:band1H>
    <a:band1V>
      <a:tcStyle>
        <a:fill>
          <a:solidFill>
            <a:srgbClr val="D2D3D6"/>
          </a:solidFill>
        </a:fill>
      </a:tcStyle>
    </a:band1V>
    <a:lastCol>
      <a:tcTxStyle b="on" i="off">
        <a:font>
          <a:latin typeface="Arial"/>
          <a:ea typeface="Arial"/>
          <a:cs typeface="Arial"/>
        </a:font>
        <a:schemeClr val="lt1"/>
      </a:tcTxStyle>
      <a:tcStyle>
        <a:fill>
          <a:solidFill>
            <a:schemeClr val="accent1"/>
          </a:solidFill>
        </a:fill>
      </a:tcStyle>
    </a:lastCol>
    <a:firstCol>
      <a:tcTxStyle b="on" i="off">
        <a:font>
          <a:latin typeface="Arial"/>
          <a:ea typeface="Arial"/>
          <a:cs typeface="Arial"/>
        </a:font>
        <a:schemeClr val="lt1"/>
      </a:tcTxStyle>
      <a:tcStyle>
        <a:fill>
          <a:solidFill>
            <a:schemeClr val="accent1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top>
        </a:tcBdr>
        <a:fill>
          <a:solidFill>
            <a:schemeClr val="accent1"/>
          </a:solidFill>
        </a:fill>
      </a:tcStyle>
    </a:lastRow>
    <a:firstRow>
      <a:tcTxStyle b="on" i="off">
        <a:font>
          <a:latin typeface="Arial"/>
          <a:ea typeface="Arial"/>
          <a:cs typeface="Arial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bottom>
        </a:tcBdr>
        <a:fill>
          <a:solidFill>
            <a:schemeClr val="accent1"/>
          </a:solidFill>
        </a:fill>
      </a:tcStyle>
    </a:firstRow>
  </a:tblStyle>
  <a:tblStyle styleId="{D70C81C8-5AA9-4E1A-A480-ED5D720BE2BF}" styleName="Table_1">
    <a:wholeTbl>
      <a:tcTxStyle>
        <a:font>
          <a:latin typeface="Arial"/>
          <a:ea typeface="Arial"/>
          <a:cs typeface="Arial"/>
        </a:font>
        <a:srgbClr val="000000"/>
      </a:tcTxStyle>
    </a:wholeTbl>
  </a:tblStyle>
  <a:tblStyle styleId="{271649EC-1B50-4853-B59D-A2381DD4EE86}" styleName="Table_2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</a:right>
          <a:top>
            <a:ln w="12700" cap="flat" cmpd="sng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12700" cap="flat" cmpd="sng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</a:bottom>
          <a:insideH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</a:insideH>
          <a:insideV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med" len="med"/>
              <a:tailEnd type="none" w="med" len="med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Style>
        <a:fill>
          <a:solidFill>
            <a:schemeClr val="dk1">
              <a:alpha val="20000"/>
            </a:schemeClr>
          </a:solidFill>
        </a:fill>
      </a:tcStyle>
    </a:band1H>
    <a:band1V>
      <a:tcStyle>
        <a:fill>
          <a:solidFill>
            <a:schemeClr val="dk1">
              <a:alpha val="20000"/>
            </a:schemeClr>
          </a:solidFill>
        </a:fill>
      </a:tcStyle>
    </a:band1V>
    <a:lastCol>
      <a:tcTxStyle b="on" i="off"/>
    </a:lastCol>
    <a:firstCol>
      <a:tcTxStyle b="on" i="off"/>
    </a:firstCol>
    <a:lastRow>
      <a:tcTxStyle b="on" i="off"/>
      <a:tcStyle>
        <a:tcBdr>
          <a:top>
            <a:ln w="12700" cap="flat" cmpd="sng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</a:top>
        </a:tcBdr>
        <a:fill>
          <a:solidFill>
            <a:srgbClr val="FFFFFF">
              <a:alpha val="0"/>
            </a:srgbClr>
          </a:solidFill>
        </a:fill>
      </a:tcStyle>
    </a:lastRow>
    <a:firstRow>
      <a:tcTxStyle b="on" i="off"/>
      <a:tcStyle>
        <a:tcBdr>
          <a:bottom>
            <a:ln w="12700" cap="flat" cmpd="sng">
              <a:solidFill>
                <a:schemeClr val="dk1"/>
              </a:solidFill>
              <a:prstDash val="solid"/>
              <a:round/>
              <a:headEnd type="none" w="med" len="med"/>
              <a:tailEnd type="none" w="med" len="med"/>
            </a:ln>
          </a:bottom>
        </a:tcBdr>
        <a:fill>
          <a:solidFill>
            <a:srgbClr val="FFFFFF">
              <a:alpha val="0"/>
            </a:srgbClr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fill>
          <a:solidFill>
            <a:schemeClr val="accent3">
              <a:alpha val="40000"/>
            </a:schemeClr>
          </a:solidFill>
        </a:fill>
      </a:tcStyle>
    </a:band1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fill>
          <a:solidFill>
            <a:schemeClr val="accent1">
              <a:alpha val="40000"/>
            </a:schemeClr>
          </a:solidFill>
        </a:fill>
      </a:tcStyle>
    </a:band1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fill>
          <a:solidFill>
            <a:schemeClr val="dk1">
              <a:tint val="20000"/>
            </a:schemeClr>
          </a:solidFill>
        </a:fill>
      </a:tcStyle>
    </a:band1H>
    <a:band1V>
      <a:tcStyle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</a:seCell>
    <a:swCell>
      <a:tcTxStyle b="on">
        <a:fontRef idx="minor">
          <a:scrgbClr r="0" g="0" b="0"/>
        </a:fontRef>
        <a:schemeClr val="dk1"/>
      </a:tcTx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</a:lastCol>
    <a:firstCol>
      <a:tcTxStyle b="on"/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983" autoAdjust="0"/>
    <p:restoredTop sz="79397" autoAdjust="0"/>
  </p:normalViewPr>
  <p:slideViewPr>
    <p:cSldViewPr snapToGrid="0">
      <p:cViewPr varScale="1">
        <p:scale>
          <a:sx n="90" d="100"/>
          <a:sy n="90" d="100"/>
        </p:scale>
        <p:origin x="110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1" d="100"/>
          <a:sy n="61" d="100"/>
        </p:scale>
        <p:origin x="3139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viewProps" Target="viewProps.xml"/><Relationship Id="rId8" Type="http://schemas.openxmlformats.org/officeDocument/2006/relationships/slide" Target="slides/slide4.xml"/><Relationship Id="rId18" Type="http://schemas.openxmlformats.org/officeDocument/2006/relationships/customXml" Target="../customXml/item3.xml"/><Relationship Id="rId3" Type="http://schemas.openxmlformats.org/officeDocument/2006/relationships/notesMaster" Target="notesMasters/notesMaster1.xml"/><Relationship Id="rId12" Type="http://schemas.openxmlformats.org/officeDocument/2006/relationships/presProps" Target="presProps.xml"/><Relationship Id="rId7" Type="http://schemas.openxmlformats.org/officeDocument/2006/relationships/slide" Target="slides/slide3.xml"/><Relationship Id="rId17" Type="http://schemas.openxmlformats.org/officeDocument/2006/relationships/customXml" Target="../customXml/item2.xml"/><Relationship Id="rId2" Type="http://schemas.openxmlformats.org/officeDocument/2006/relationships/slideMaster" Target="slideMasters/slideMaster1.xml"/><Relationship Id="rId16" Type="http://schemas.openxmlformats.org/officeDocument/2006/relationships/customXml" Target="../customXml/item1.xml"/><Relationship Id="rId1" Type="http://schemas.openxmlformats.org/officeDocument/2006/relationships/commentAuthors" Target="commentAuthors.xml"/><Relationship Id="rId11" Type="http://schemas.openxmlformats.org/officeDocument/2006/relationships/tags" Target="tags/tag2.xml"/><Relationship Id="rId6" Type="http://schemas.openxmlformats.org/officeDocument/2006/relationships/slide" Target="slides/slide2.xml"/><Relationship Id="rId15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slide" Target="slides/slide6.xml"/><Relationship Id="rId14" Type="http://schemas.openxmlformats.org/officeDocument/2006/relationships/theme" Target="theme/theme1.xml"/><Relationship Id="rId4" Type="http://schemas.openxmlformats.org/officeDocument/2006/relationships/handoutMaster" Target="handoutMasters/handoutMaster1.xml"/><Relationship Id="rId9" Type="http://schemas.openxmlformats.org/officeDocument/2006/relationships/slide" Target="slides/slide5.xml"/></Relationships>
</file>

<file path=ppt/charts/_rels/chart1.xml.rels>&#65279;<?xml version="1.0" encoding="utf-8" standalone="yes"?><Relationships xmlns="http://schemas.openxmlformats.org/package/2006/relationships"><Relationship Id="rId1" Type="http://schemas.openxmlformats.org/officeDocument/2006/relationships/oleObject" Target="file:///\\umad.umsystem.edu\um\um-depts\accounting\Administration\Board%20of%20Curators\April%2020,%202023\Supporting%20Documents\1965-2022%20Financial%20Data%20-%20Degree%20View.xlsx" TargetMode="External" /><Relationship Id="rId2" Type="http://schemas.openxmlformats.org/officeDocument/2006/relationships/chartUserShapes" Target="../drawings/drawing1.xml" /><Relationship Id="rId3" Type="http://schemas.microsoft.com/office/2011/relationships/chartColorStyle" Target="colors1.xml" /><Relationship Id="rId4" Type="http://schemas.microsoft.com/office/2011/relationships/chartStyle" Target="style1.xml" /></Relationships>
</file>

<file path=ppt/charts/_rels/chart2.xml.rels>&#65279;<?xml version="1.0" encoding="utf-8" standalone="yes"?><Relationships xmlns="http://schemas.openxmlformats.org/package/2006/relationships"><Relationship Id="rId1" Type="http://schemas.openxmlformats.org/officeDocument/2006/relationships/oleObject" Target="file:///\\col.missouri.edu\um\um-depts\accounting\Administration\Board%20of%20Curators\April%2020,%202023\Supporting%20Documents\Budget%20Board%20Paper.xlsx" TargetMode="External" /><Relationship Id="rId2" Type="http://schemas.openxmlformats.org/officeDocument/2006/relationships/chartUserShapes" Target="../drawings/drawing2.xml" /><Relationship Id="rId3" Type="http://schemas.microsoft.com/office/2011/relationships/chartColorStyle" Target="colors2.xml" /><Relationship Id="rId4" Type="http://schemas.microsoft.com/office/2011/relationships/chartStyle" Target="style2.xml" /></Relationships>
</file>

<file path=ppt/charts/_rels/chart3.xml.rels>&#65279;<?xml version="1.0" encoding="utf-8" standalone="yes"?><Relationships xmlns="http://schemas.openxmlformats.org/package/2006/relationships"><Relationship Id="rId1" Type="http://schemas.openxmlformats.org/officeDocument/2006/relationships/oleObject" Target="file:///\\col.missouri.edu\um\um-depts\accounting\Administration\Board%20of%20Curators\April%2020,%202023\Supporting%20Documents\Budget%20Board%20Paper.xlsx" TargetMode="External" /><Relationship Id="rId2" Type="http://schemas.openxmlformats.org/officeDocument/2006/relationships/chartUserShapes" Target="../drawings/drawing3.xml" /><Relationship Id="rId3" Type="http://schemas.microsoft.com/office/2011/relationships/chartColorStyle" Target="colors3.xml" /><Relationship Id="rId4" Type="http://schemas.microsoft.com/office/2011/relationships/chartStyle" Target="style3.xml" /></Relationships>
</file>

<file path=ppt/charts/chart1.xml><?xml version="1.0" encoding="utf-8"?>
<c:chartSpace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c="http://schemas.openxmlformats.org/drawingml/20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barChart>
        <c:barDir val="col"/>
        <c:grouping val="stacked"/>
        <c:varyColors val="0"/>
        <c:ser>
          <c:idx val="1"/>
          <c:order val="0"/>
          <c:tx>
            <c:strRef>
              <c:f>'EV Sheet'!$T$4</c:f>
              <c:strCache>
                <c:ptCount val="1"/>
                <c:pt idx="0">
                  <c:v>State Approps per Degree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" sourceLinked="1"/>
              <c:txPr>
                <a:bodyPr rot="-5400000" spcFirstLastPara="1" vertOverflow="ellipsis" wrap="square" anchor="ctr" anchorCtr="1"/>
                <a:p>
                  <a:pPr>
                    <a:defRPr sz="1600" b="0" i="0" u="none" strike="noStrike" kern="1200" baseline="0" smtId="4294967295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sz="1600" b="0" i="0" u="none" strike="noStrike" kern="1200" baseline="0" smtId="4294967295">
                    <a:solidFill>
                      <a:schemeClr val="bg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endParaRPr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/>
            </c:dLbl>
            <c:dLbl>
              <c:idx val="1"/>
              <c:numFmt formatCode="" sourceLinked="1"/>
              <c:txPr>
                <a:bodyPr rot="-5400000" spcFirstLastPara="1" vertOverflow="ellipsis" wrap="square" anchor="ctr" anchorCtr="1"/>
                <a:p>
                  <a:pPr>
                    <a:defRPr sz="1600" b="0" i="0" u="none" strike="noStrike" kern="1200" baseline="0" smtId="4294967295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sz="1600" b="0" i="0" u="none" strike="noStrike" kern="1200" baseline="0" smtId="4294967295">
                    <a:solidFill>
                      <a:schemeClr val="bg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endParaRPr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/>
            </c:dLbl>
            <c:dLbl>
              <c:idx val="2"/>
              <c:numFmt formatCode="" sourceLinked="1"/>
              <c:txPr>
                <a:bodyPr rot="-5400000" spcFirstLastPara="1" vertOverflow="ellipsis" wrap="square" anchor="ctr" anchorCtr="1"/>
                <a:p>
                  <a:pPr>
                    <a:defRPr sz="1600" b="0" i="0" u="none" strike="noStrike" kern="1200" baseline="0" smtId="4294967295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sz="1600" b="0" i="0" u="none" strike="noStrike" kern="1200" baseline="0" smtId="4294967295">
                    <a:solidFill>
                      <a:schemeClr val="bg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endParaRPr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/>
            </c:dLbl>
            <c:dLbl>
              <c:idx val="3"/>
              <c:numFmt formatCode="" sourceLinked="1"/>
              <c:txPr>
                <a:bodyPr rot="-5400000" spcFirstLastPara="1" vertOverflow="ellipsis" wrap="square" anchor="ctr" anchorCtr="1"/>
                <a:p>
                  <a:pPr>
                    <a:defRPr sz="1600" b="0" i="0" u="none" strike="noStrike" kern="1200" baseline="0" smtId="4294967295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sz="1600" b="0" i="0" u="none" strike="noStrike" kern="1200" baseline="0" smtId="4294967295">
                    <a:solidFill>
                      <a:schemeClr val="bg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endParaRPr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/>
            </c:dLbl>
            <c:dLbl>
              <c:idx val="4"/>
              <c:numFmt formatCode="" sourceLinked="1"/>
              <c:txPr>
                <a:bodyPr rot="-5400000" spcFirstLastPara="1" vertOverflow="ellipsis" wrap="square" anchor="ctr" anchorCtr="1"/>
                <a:p>
                  <a:pPr>
                    <a:defRPr sz="1600" b="0" i="0" u="none" strike="noStrike" kern="1200" baseline="0" smtId="4294967295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sz="1600" b="0" i="0" u="none" strike="noStrike" kern="1200" baseline="0" smtId="4294967295">
                    <a:solidFill>
                      <a:schemeClr val="bg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endParaRPr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/>
            </c:dLbl>
            <c:dLbl>
              <c:idx val="5"/>
              <c:numFmt formatCode="" sourceLinked="1"/>
              <c:txPr>
                <a:bodyPr rot="-5400000" spcFirstLastPara="1" vertOverflow="ellipsis" wrap="square" anchor="ctr" anchorCtr="1"/>
                <a:p>
                  <a:pPr>
                    <a:defRPr sz="1600" b="0" i="0" u="none" strike="noStrike" kern="1200" baseline="0" smtId="4294967295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sz="1600" b="0" i="0" u="none" strike="noStrike" kern="1200" baseline="0" smtId="4294967295">
                    <a:solidFill>
                      <a:schemeClr val="bg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endParaRPr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/>
            </c:dLbl>
            <c:dLbl>
              <c:idx val="6"/>
              <c:numFmt formatCode="" sourceLinked="1"/>
              <c:txPr>
                <a:bodyPr rot="-5400000" spcFirstLastPara="1" vertOverflow="ellipsis" wrap="square" anchor="ctr" anchorCtr="1"/>
                <a:p>
                  <a:pPr>
                    <a:defRPr sz="1600" b="0" i="0" u="none" strike="noStrike" kern="1200" baseline="0" smtId="4294967295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sz="1600" b="0" i="0" u="none" strike="noStrike" kern="1200" baseline="0" smtId="4294967295">
                    <a:solidFill>
                      <a:schemeClr val="bg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endParaRPr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/>
            </c:dLbl>
            <c:dLbl>
              <c:idx val="7"/>
              <c:numFmt formatCode="" sourceLinked="1"/>
              <c:txPr>
                <a:bodyPr rot="-5400000" spcFirstLastPara="1" vertOverflow="ellipsis" wrap="square" anchor="ctr" anchorCtr="1"/>
                <a:p>
                  <a:pPr>
                    <a:defRPr sz="1600" b="0" i="0" u="none" strike="noStrike" kern="1200" baseline="0" smtId="4294967295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sz="1600" b="0" i="0" u="none" strike="noStrike" kern="1200" baseline="0" smtId="4294967295">
                    <a:solidFill>
                      <a:schemeClr val="bg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endParaRPr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/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p>
                <a:pPr>
                  <a:defRPr sz="1600" b="0" i="0" u="none" strike="noStrike" kern="1200" baseline="0" smtId="4294967295">
                    <a:solidFill>
                      <a:schemeClr val="bg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sz="1600" b="0" i="0" u="none" strike="noStrike" kern="1200" baseline="0" smtId="4294967295">
                  <a:solidFill>
                    <a:schemeClr val="bg1"/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</c:spPr>
                </c15:leaderLines>
              </c:ext>
            </c:extLst>
          </c:dLbls>
          <c:cat>
            <c:strRef>
              <c:f>'EV Sheet'!$R$5:$R$12</c:f>
              <c:strCache>
                <c:ptCount val="8"/>
                <c:pt idx="0">
                  <c:v>FY2015</c:v>
                </c:pt>
                <c:pt idx="1">
                  <c:v>FY2016</c:v>
                </c:pt>
                <c:pt idx="2">
                  <c:v>FY2017</c:v>
                </c:pt>
                <c:pt idx="3">
                  <c:v>FY2018</c:v>
                </c:pt>
                <c:pt idx="4">
                  <c:v>FY2019</c:v>
                </c:pt>
                <c:pt idx="5">
                  <c:v>FY2020</c:v>
                </c:pt>
                <c:pt idx="6">
                  <c:v>FY2021</c:v>
                </c:pt>
                <c:pt idx="7">
                  <c:v>FY2022</c:v>
                </c:pt>
              </c:strCache>
            </c:strRef>
          </c:cat>
          <c:val>
            <c:numRef>
              <c:f>'EV Sheet'!$T$5:$T$12</c:f>
              <c:numCache>
                <c:formatCode>_("$"* #,##0_);_("$"* \(#,##0\);_("$"* "-"??_);_(@_)</c:formatCode>
                <c:ptCount val="8"/>
                <c:pt idx="0">
                  <c:v>23596.540339057927</c:v>
                </c:pt>
                <c:pt idx="1">
                  <c:v>23419.140010799136</c:v>
                </c:pt>
                <c:pt idx="2">
                  <c:v>22400.383099967436</c:v>
                </c:pt>
                <c:pt idx="3">
                  <c:v>21466.12137632078</c:v>
                </c:pt>
                <c:pt idx="4">
                  <c:v>18692.714767269943</c:v>
                </c:pt>
                <c:pt idx="5">
                  <c:v>19313.60503840576</c:v>
                </c:pt>
                <c:pt idx="6">
                  <c:v>20919.537909326853</c:v>
                </c:pt>
                <c:pt idx="7">
                  <c:v>23398.153940202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B4E-45D6-B204-EBFE00CBBF09}"/>
            </c:ext>
          </c:extLst>
        </c:ser>
        <c:ser>
          <c:idx val="0"/>
          <c:order val="1"/>
          <c:tx>
            <c:strRef>
              <c:f>'EV Sheet'!$S$4</c:f>
              <c:strCache>
                <c:ptCount val="1"/>
                <c:pt idx="0">
                  <c:v>Net Tuition Per Degree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" sourceLinked="1"/>
              <c:txPr>
                <a:bodyPr rot="-5400000" spcFirstLastPara="1" vertOverflow="ellipsis" wrap="square" anchor="ctr" anchorCtr="1"/>
                <a:p>
                  <a:pPr>
                    <a:defRPr sz="1600" b="0" i="0" u="none" strike="noStrike" kern="1200" baseline="0" smtId="4294967295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sz="1600" b="0" i="0" u="none" strike="noStrike" kern="1200" baseline="0" smtId="4294967295">
                    <a:solidFill>
                      <a:schemeClr val="bg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endParaRPr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/>
            </c:dLbl>
            <c:dLbl>
              <c:idx val="1"/>
              <c:numFmt formatCode="" sourceLinked="1"/>
              <c:txPr>
                <a:bodyPr rot="-5400000" spcFirstLastPara="1" vertOverflow="ellipsis" wrap="square" anchor="ctr" anchorCtr="1"/>
                <a:p>
                  <a:pPr>
                    <a:defRPr sz="1600" b="0" i="0" u="none" strike="noStrike" kern="1200" baseline="0" smtId="4294967295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sz="1600" b="0" i="0" u="none" strike="noStrike" kern="1200" baseline="0" smtId="4294967295">
                    <a:solidFill>
                      <a:schemeClr val="bg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endParaRPr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/>
            </c:dLbl>
            <c:dLbl>
              <c:idx val="2"/>
              <c:numFmt formatCode="" sourceLinked="1"/>
              <c:txPr>
                <a:bodyPr rot="-5400000" spcFirstLastPara="1" vertOverflow="ellipsis" wrap="square" anchor="ctr" anchorCtr="1"/>
                <a:p>
                  <a:pPr>
                    <a:defRPr sz="1600" b="0" i="0" u="none" strike="noStrike" kern="1200" baseline="0" smtId="4294967295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sz="1600" b="0" i="0" u="none" strike="noStrike" kern="1200" baseline="0" smtId="4294967295">
                    <a:solidFill>
                      <a:schemeClr val="bg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endParaRPr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/>
            </c:dLbl>
            <c:dLbl>
              <c:idx val="3"/>
              <c:numFmt formatCode="" sourceLinked="1"/>
              <c:txPr>
                <a:bodyPr rot="-5400000" spcFirstLastPara="1" vertOverflow="ellipsis" wrap="square" anchor="ctr" anchorCtr="1"/>
                <a:p>
                  <a:pPr>
                    <a:defRPr sz="1600" b="0" i="0" u="none" strike="noStrike" kern="1200" baseline="0" smtId="4294967295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sz="1600" b="0" i="0" u="none" strike="noStrike" kern="1200" baseline="0" smtId="4294967295">
                    <a:solidFill>
                      <a:schemeClr val="bg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endParaRPr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/>
            </c:dLbl>
            <c:dLbl>
              <c:idx val="4"/>
              <c:numFmt formatCode="" sourceLinked="1"/>
              <c:txPr>
                <a:bodyPr rot="-5400000" spcFirstLastPara="1" vertOverflow="ellipsis" wrap="square" anchor="ctr" anchorCtr="1"/>
                <a:p>
                  <a:pPr>
                    <a:defRPr sz="1600" b="0" i="0" u="none" strike="noStrike" kern="1200" baseline="0" smtId="4294967295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sz="1600" b="0" i="0" u="none" strike="noStrike" kern="1200" baseline="0" smtId="4294967295">
                    <a:solidFill>
                      <a:schemeClr val="bg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endParaRPr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/>
            </c:dLbl>
            <c:dLbl>
              <c:idx val="5"/>
              <c:numFmt formatCode="" sourceLinked="1"/>
              <c:txPr>
                <a:bodyPr rot="-5400000" spcFirstLastPara="1" vertOverflow="ellipsis" wrap="square" anchor="ctr" anchorCtr="1"/>
                <a:p>
                  <a:pPr>
                    <a:defRPr sz="1600" b="0" i="0" u="none" strike="noStrike" kern="1200" baseline="0" smtId="4294967295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sz="1600" b="0" i="0" u="none" strike="noStrike" kern="1200" baseline="0" smtId="4294967295">
                    <a:solidFill>
                      <a:schemeClr val="bg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endParaRPr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/>
            </c:dLbl>
            <c:dLbl>
              <c:idx val="6"/>
              <c:numFmt formatCode="" sourceLinked="1"/>
              <c:txPr>
                <a:bodyPr rot="-5400000" spcFirstLastPara="1" vertOverflow="ellipsis" wrap="square" anchor="ctr" anchorCtr="1"/>
                <a:p>
                  <a:pPr>
                    <a:defRPr sz="1600" b="0" i="0" u="none" strike="noStrike" kern="1200" baseline="0" smtId="4294967295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sz="1600" b="0" i="0" u="none" strike="noStrike" kern="1200" baseline="0" smtId="4294967295">
                    <a:solidFill>
                      <a:schemeClr val="bg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endParaRPr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/>
            </c:dLbl>
            <c:dLbl>
              <c:idx val="7"/>
              <c:numFmt formatCode="" sourceLinked="1"/>
              <c:txPr>
                <a:bodyPr rot="-5400000" spcFirstLastPara="1" vertOverflow="ellipsis" wrap="square" anchor="ctr" anchorCtr="1"/>
                <a:p>
                  <a:pPr>
                    <a:defRPr sz="1600" b="0" i="0" u="none" strike="noStrike" kern="1200" baseline="0" smtId="4294967295">
                      <a:solidFill>
                        <a:schemeClr val="bg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sz="1600" b="0" i="0" u="none" strike="noStrike" kern="1200" baseline="0" smtId="4294967295">
                    <a:solidFill>
                      <a:schemeClr val="bg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endParaRPr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/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p>
                <a:pPr>
                  <a:defRPr sz="1600" b="0" i="0" u="none" strike="noStrike" kern="1200" baseline="0" smtId="4294967295">
                    <a:solidFill>
                      <a:schemeClr val="bg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sz="1600" b="0" i="0" u="none" strike="noStrike" kern="1200" baseline="0" smtId="4294967295">
                  <a:solidFill>
                    <a:schemeClr val="bg1"/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</c:spPr>
                </c15:leaderLines>
              </c:ext>
            </c:extLst>
          </c:dLbls>
          <c:cat>
            <c:strRef>
              <c:f>'EV Sheet'!$R$5:$R$12</c:f>
              <c:strCache>
                <c:ptCount val="8"/>
                <c:pt idx="0">
                  <c:v>FY2015</c:v>
                </c:pt>
                <c:pt idx="1">
                  <c:v>FY2016</c:v>
                </c:pt>
                <c:pt idx="2">
                  <c:v>FY2017</c:v>
                </c:pt>
                <c:pt idx="3">
                  <c:v>FY2018</c:v>
                </c:pt>
                <c:pt idx="4">
                  <c:v>FY2019</c:v>
                </c:pt>
                <c:pt idx="5">
                  <c:v>FY2020</c:v>
                </c:pt>
                <c:pt idx="6">
                  <c:v>FY2021</c:v>
                </c:pt>
                <c:pt idx="7">
                  <c:v>FY2022</c:v>
                </c:pt>
              </c:strCache>
            </c:strRef>
          </c:cat>
          <c:val>
            <c:numRef>
              <c:f>'EV Sheet'!$S$5:$S$12</c:f>
              <c:numCache>
                <c:formatCode>_("$"* #,##0_);_("$"* \(#,##0\);_("$"* "-"??_);_(@_)</c:formatCode>
                <c:ptCount val="8"/>
                <c:pt idx="0">
                  <c:v>32366.723728532776</c:v>
                </c:pt>
                <c:pt idx="1">
                  <c:v>32501.13390928726</c:v>
                </c:pt>
                <c:pt idx="2">
                  <c:v>31473.352870943232</c:v>
                </c:pt>
                <c:pt idx="3">
                  <c:v>30746.789487943646</c:v>
                </c:pt>
                <c:pt idx="4">
                  <c:v>28413.204180474127</c:v>
                </c:pt>
                <c:pt idx="5">
                  <c:v>27839.803083203522</c:v>
                </c:pt>
                <c:pt idx="6">
                  <c:v>28089.0768126346</c:v>
                </c:pt>
                <c:pt idx="7">
                  <c:v>29085.556018672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B4E-45D6-B204-EBFE00CBBF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gapWidth/>
        <c:overlap val="100"/>
        <c:axId val="215980031"/>
        <c:axId val="215980447"/>
      </c:barChart>
      <c:lineChart>
        <c:grouping/>
        <c:varyColors val="0"/>
        <c:ser>
          <c:idx val="2"/>
          <c:order val="2"/>
          <c:tx>
            <c:strRef>
              <c:f>'EV Sheet'!$D$16</c:f>
              <c:strCache>
                <c:ptCount val="1"/>
                <c:pt idx="0">
                  <c:v>Inflation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numFmt formatCode="" sourceLinked="1"/>
              <c:txPr>
                <a:bodyPr rot="0" spcFirstLastPara="1" vertOverflow="ellipsis" vert="horz" wrap="square" anchor="ctr" anchorCtr="1"/>
                <a:p>
                  <a:pPr>
                    <a:defRPr sz="1600" b="0" i="0" u="none" strike="noStrike" kern="1200" baseline="0" smtId="4294967295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sz="1600" b="0" i="0" u="none" strike="noStrike" kern="1200" baseline="0" smtId="4294967295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endParaRPr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/>
            </c:dLbl>
            <c:dLbl>
              <c:idx val="1"/>
              <c:numFmt formatCode="" sourceLinked="1"/>
              <c:txPr>
                <a:bodyPr rot="0" spcFirstLastPara="1" vertOverflow="ellipsis" vert="horz" wrap="square" anchor="ctr" anchorCtr="1"/>
                <a:p>
                  <a:pPr>
                    <a:defRPr sz="1600" b="0" i="0" u="none" strike="noStrike" kern="1200" baseline="0" smtId="4294967295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sz="1600" b="0" i="0" u="none" strike="noStrike" kern="1200" baseline="0" smtId="4294967295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endParaRPr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/>
            </c:dLbl>
            <c:dLbl>
              <c:idx val="2"/>
              <c:numFmt formatCode="" sourceLinked="1"/>
              <c:txPr>
                <a:bodyPr rot="0" spcFirstLastPara="1" vertOverflow="ellipsis" vert="horz" wrap="square" anchor="ctr" anchorCtr="1"/>
                <a:p>
                  <a:pPr>
                    <a:defRPr sz="1600" b="0" i="0" u="none" strike="noStrike" kern="1200" baseline="0" smtId="4294967295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sz="1600" b="0" i="0" u="none" strike="noStrike" kern="1200" baseline="0" smtId="4294967295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endParaRPr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/>
            </c:dLbl>
            <c:dLbl>
              <c:idx val="3"/>
              <c:numFmt formatCode="" sourceLinked="1"/>
              <c:txPr>
                <a:bodyPr rot="0" spcFirstLastPara="1" vertOverflow="ellipsis" vert="horz" wrap="square" anchor="ctr" anchorCtr="1"/>
                <a:p>
                  <a:pPr>
                    <a:defRPr sz="1600" b="0" i="0" u="none" strike="noStrike" kern="1200" baseline="0" smtId="4294967295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sz="1600" b="0" i="0" u="none" strike="noStrike" kern="1200" baseline="0" smtId="4294967295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endParaRPr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/>
            </c:dLbl>
            <c:dLbl>
              <c:idx val="4"/>
              <c:numFmt formatCode="" sourceLinked="1"/>
              <c:txPr>
                <a:bodyPr rot="0" spcFirstLastPara="1" vertOverflow="ellipsis" vert="horz" wrap="square" anchor="ctr" anchorCtr="1"/>
                <a:p>
                  <a:pPr>
                    <a:defRPr sz="1600" b="0" i="0" u="none" strike="noStrike" kern="1200" baseline="0" smtId="4294967295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sz="1600" b="0" i="0" u="none" strike="noStrike" kern="1200" baseline="0" smtId="4294967295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endParaRPr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/>
            </c:dLbl>
            <c:dLbl>
              <c:idx val="5"/>
              <c:numFmt formatCode="" sourceLinked="1"/>
              <c:txPr>
                <a:bodyPr rot="0" spcFirstLastPara="1" vertOverflow="ellipsis" vert="horz" wrap="square" anchor="ctr" anchorCtr="1"/>
                <a:p>
                  <a:pPr>
                    <a:defRPr sz="1600" b="0" i="0" u="none" strike="noStrike" kern="1200" baseline="0" smtId="4294967295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sz="1600" b="0" i="0" u="none" strike="noStrike" kern="1200" baseline="0" smtId="4294967295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endParaRPr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/>
            </c:dLbl>
            <c:dLbl>
              <c:idx val="6"/>
              <c:numFmt formatCode="" sourceLinked="1"/>
              <c:txPr>
                <a:bodyPr rot="0" spcFirstLastPara="1" vertOverflow="ellipsis" vert="horz" wrap="square" anchor="ctr" anchorCtr="1"/>
                <a:p>
                  <a:pPr>
                    <a:defRPr sz="1600" b="0" i="0" u="none" strike="noStrike" kern="1200" baseline="0" smtId="4294967295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sz="1600" b="0" i="0" u="none" strike="noStrike" kern="1200" baseline="0" smtId="4294967295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endParaRPr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/>
            </c:dLbl>
            <c:dLbl>
              <c:idx val="7"/>
              <c:layout>
                <c:manualLayout>
                  <c:x val="-0.0694444477558136"/>
                  <c:y val="-0.038218993693590164"/>
                </c:manualLayout>
              </c:layout>
              <c:numFmt formatCode="" sourceLinked="1"/>
              <c:txPr>
                <a:bodyPr rot="0" spcFirstLastPara="1" vertOverflow="ellipsis" vert="horz" wrap="square" anchor="ctr" anchorCtr="1"/>
                <a:p>
                  <a:pPr>
                    <a:defRPr sz="1600" b="0" i="0" u="none" strike="noStrike" kern="1200" baseline="0" smtId="4294967295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sz="1600" b="0" i="0" u="none" strike="noStrike" kern="1200" baseline="0" smtId="4294967295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endParaRPr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B4E-45D6-B204-EBFE00CBBF0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p>
                <a:pPr>
                  <a:defRPr sz="1600" b="0" i="0" u="none" strike="noStrike" kern="1200" baseline="0" smtId="4294967295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sz="1600" b="0" i="0" u="none" strike="noStrike" kern="1200" baseline="0" smtId="4294967295">
                  <a:solidFill>
                    <a:schemeClr val="tx1">
                      <a:lumMod val="75000"/>
                      <a:lumOff val="25000"/>
                    </a:schemeClr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</c:spPr>
                </c15:leaderLines>
              </c:ext>
            </c:extLst>
          </c:dLbls>
          <c:cat>
            <c:strRef>
              <c:f>'EV Sheet'!$R$5:$R$12</c:f>
              <c:strCache>
                <c:ptCount val="8"/>
                <c:pt idx="0">
                  <c:v>FY2015</c:v>
                </c:pt>
                <c:pt idx="1">
                  <c:v>FY2016</c:v>
                </c:pt>
                <c:pt idx="2">
                  <c:v>FY2017</c:v>
                </c:pt>
                <c:pt idx="3">
                  <c:v>FY2018</c:v>
                </c:pt>
                <c:pt idx="4">
                  <c:v>FY2019</c:v>
                </c:pt>
                <c:pt idx="5">
                  <c:v>FY2020</c:v>
                </c:pt>
                <c:pt idx="6">
                  <c:v>FY2021</c:v>
                </c:pt>
                <c:pt idx="7">
                  <c:v>FY2022</c:v>
                </c:pt>
              </c:strCache>
            </c:strRef>
          </c:cat>
          <c:val>
            <c:numRef>
              <c:f>'EV Sheet'!$U$5:$U$12</c:f>
              <c:numCache>
                <c:formatCode>_("$"* #,##0_);_("$"* \(#,##0\);_("$"* "-"??_);_(@_)</c:formatCode>
                <c:ptCount val="8"/>
                <c:pt idx="0">
                  <c:v>55963.2640675907</c:v>
                </c:pt>
                <c:pt idx="1">
                  <c:v>56526.180386795306</c:v>
                </c:pt>
                <c:pt idx="2">
                  <c:v>57452.64682881954</c:v>
                </c:pt>
                <c:pt idx="3">
                  <c:v>59103.63348335337</c:v>
                </c:pt>
                <c:pt idx="4">
                  <c:v>60077.94781250999</c:v>
                </c:pt>
                <c:pt idx="5">
                  <c:v>60771.74217592967</c:v>
                </c:pt>
                <c:pt idx="6">
                  <c:v>63725.880109422156</c:v>
                </c:pt>
                <c:pt idx="7">
                  <c:v>69499.290608264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B4E-45D6-B204-EBFE00CBBF09}"/>
            </c:ext>
          </c:extLst>
        </c:ser>
        <c:ser>
          <c:idx val="3"/>
          <c:order val="3"/>
          <c:spPr>
            <a:ln w="28575" cap="rnd">
              <a:noFill/>
              <a:round/>
            </a:ln>
            <a:effectLst/>
          </c:spPr>
          <c:marker>
            <c:symbol val="none"/>
          </c:marker>
          <c:dLbls>
            <c:dLbl>
              <c:idx val="0"/>
              <c:numFmt formatCode="" sourceLinked="1"/>
              <c:txPr>
                <a:bodyPr rot="0" spcFirstLastPara="1" vertOverflow="ellipsis" vert="horz" wrap="square" anchor="ctr" anchorCtr="1"/>
                <a:p>
                  <a:pPr>
                    <a:defRPr sz="1600" b="0" i="0" u="none" strike="noStrike" kern="1200" baseline="0" smtId="4294967295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sz="1600" b="0" i="0" u="none" strike="noStrike" kern="1200" baseline="0" smtId="4294967295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endParaRPr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/>
            </c:dLbl>
            <c:dLbl>
              <c:idx val="1"/>
              <c:numFmt formatCode="" sourceLinked="1"/>
              <c:txPr>
                <a:bodyPr rot="0" spcFirstLastPara="1" vertOverflow="ellipsis" vert="horz" wrap="square" anchor="ctr" anchorCtr="1"/>
                <a:p>
                  <a:pPr>
                    <a:defRPr sz="1600" b="0" i="0" u="none" strike="noStrike" kern="1200" baseline="0" smtId="4294967295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sz="1600" b="0" i="0" u="none" strike="noStrike" kern="1200" baseline="0" smtId="4294967295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endParaRPr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/>
            </c:dLbl>
            <c:dLbl>
              <c:idx val="2"/>
              <c:numFmt formatCode="" sourceLinked="1"/>
              <c:txPr>
                <a:bodyPr rot="0" spcFirstLastPara="1" vertOverflow="ellipsis" vert="horz" wrap="square" anchor="ctr" anchorCtr="1"/>
                <a:p>
                  <a:pPr>
                    <a:defRPr sz="1600" b="0" i="0" u="none" strike="noStrike" kern="1200" baseline="0" smtId="4294967295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sz="1600" b="0" i="0" u="none" strike="noStrike" kern="1200" baseline="0" smtId="4294967295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endParaRPr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/>
            </c:dLbl>
            <c:dLbl>
              <c:idx val="3"/>
              <c:numFmt formatCode="" sourceLinked="1"/>
              <c:txPr>
                <a:bodyPr rot="0" spcFirstLastPara="1" vertOverflow="ellipsis" vert="horz" wrap="square" anchor="ctr" anchorCtr="1"/>
                <a:p>
                  <a:pPr>
                    <a:defRPr sz="1600" b="0" i="0" u="none" strike="noStrike" kern="1200" baseline="0" smtId="4294967295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sz="1600" b="0" i="0" u="none" strike="noStrike" kern="1200" baseline="0" smtId="4294967295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endParaRPr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/>
            </c:dLbl>
            <c:dLbl>
              <c:idx val="4"/>
              <c:numFmt formatCode="" sourceLinked="1"/>
              <c:txPr>
                <a:bodyPr rot="0" spcFirstLastPara="1" vertOverflow="ellipsis" vert="horz" wrap="square" anchor="ctr" anchorCtr="1"/>
                <a:p>
                  <a:pPr>
                    <a:defRPr sz="1600" b="0" i="0" u="none" strike="noStrike" kern="1200" baseline="0" smtId="4294967295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sz="1600" b="0" i="0" u="none" strike="noStrike" kern="1200" baseline="0" smtId="4294967295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endParaRPr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/>
            </c:dLbl>
            <c:dLbl>
              <c:idx val="5"/>
              <c:numFmt formatCode="" sourceLinked="1"/>
              <c:txPr>
                <a:bodyPr rot="0" spcFirstLastPara="1" vertOverflow="ellipsis" vert="horz" wrap="square" anchor="ctr" anchorCtr="1"/>
                <a:p>
                  <a:pPr>
                    <a:defRPr sz="1600" b="0" i="0" u="none" strike="noStrike" kern="1200" baseline="0" smtId="4294967295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sz="1600" b="0" i="0" u="none" strike="noStrike" kern="1200" baseline="0" smtId="4294967295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endParaRPr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/>
            </c:dLbl>
            <c:dLbl>
              <c:idx val="6"/>
              <c:numFmt formatCode="" sourceLinked="1"/>
              <c:txPr>
                <a:bodyPr rot="0" spcFirstLastPara="1" vertOverflow="ellipsis" vert="horz" wrap="square" anchor="ctr" anchorCtr="1"/>
                <a:p>
                  <a:pPr>
                    <a:defRPr sz="1600" b="0" i="0" u="none" strike="noStrike" kern="1200" baseline="0" smtId="4294967295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sz="1600" b="0" i="0" u="none" strike="noStrike" kern="1200" baseline="0" smtId="4294967295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endParaRPr>
                </a:p>
              </c:txPr>
              <c:showLegendKey val="0"/>
              <c:showVal val="0"/>
              <c:showCatName val="0"/>
              <c:showSerName val="0"/>
              <c:showPercent val="0"/>
              <c:showBubbleSize val="0"/>
              <c:extLst/>
            </c:dLbl>
            <c:dLbl>
              <c:idx val="7"/>
              <c:layout>
                <c:manualLayout>
                  <c:x val="-0.09134204685688019"/>
                  <c:y val="-0.02099185809493065"/>
                </c:manualLayout>
              </c:layout>
              <c:numFmt formatCode="" sourceLinked="1"/>
              <c:txPr>
                <a:bodyPr rot="0" spcFirstLastPara="1" vertOverflow="ellipsis" vert="horz" wrap="square" anchor="ctr" anchorCtr="1"/>
                <a:p>
                  <a:pPr>
                    <a:defRPr sz="1600" b="0" i="0" u="none" strike="noStrike" kern="1200" baseline="0" smtId="4294967295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sz="1600" b="0" i="0" u="none" strike="noStrike" kern="1200" baseline="0" smtId="4294967295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endParaRPr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B4E-45D6-B204-EBFE00CBBF0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p>
                <a:pPr>
                  <a:defRPr sz="1600" b="0" i="0" u="none" strike="noStrike" kern="1200" baseline="0" smtId="4294967295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sz="1600" b="0" i="0" u="none" strike="noStrike" kern="1200" baseline="0" smtId="4294967295">
                  <a:solidFill>
                    <a:schemeClr val="tx1">
                      <a:lumMod val="75000"/>
                      <a:lumOff val="25000"/>
                    </a:schemeClr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</c:spPr>
                </c15:leaderLines>
              </c:ext>
            </c:extLst>
          </c:dLbls>
          <c:cat>
            <c:strRef>
              <c:f>'EV Sheet'!$R$5:$R$12</c:f>
              <c:strCache>
                <c:ptCount val="8"/>
                <c:pt idx="0">
                  <c:v>FY2015</c:v>
                </c:pt>
                <c:pt idx="1">
                  <c:v>FY2016</c:v>
                </c:pt>
                <c:pt idx="2">
                  <c:v>FY2017</c:v>
                </c:pt>
                <c:pt idx="3">
                  <c:v>FY2018</c:v>
                </c:pt>
                <c:pt idx="4">
                  <c:v>FY2019</c:v>
                </c:pt>
                <c:pt idx="5">
                  <c:v>FY2020</c:v>
                </c:pt>
                <c:pt idx="6">
                  <c:v>FY2021</c:v>
                </c:pt>
                <c:pt idx="7">
                  <c:v>FY2022</c:v>
                </c:pt>
              </c:strCache>
            </c:strRef>
          </c:cat>
          <c:val>
            <c:numRef>
              <c:f>'EV Sheet'!$W$5:$W$12</c:f>
              <c:numCache>
                <c:formatCode>_("$"* #,##0_);_("$"* \(#,##0\);_("$"* "-"??_);_(@_)</c:formatCode>
                <c:ptCount val="8"/>
                <c:pt idx="0">
                  <c:v>55963.2640675907</c:v>
                </c:pt>
                <c:pt idx="1">
                  <c:v>55920.273920086394</c:v>
                </c:pt>
                <c:pt idx="2">
                  <c:v>53873.73597091067</c:v>
                </c:pt>
                <c:pt idx="3">
                  <c:v>52212.91086426443</c:v>
                </c:pt>
                <c:pt idx="4">
                  <c:v>47105.91894774407</c:v>
                </c:pt>
                <c:pt idx="5">
                  <c:v>47153.40812160928</c:v>
                </c:pt>
                <c:pt idx="6">
                  <c:v>49008.61472196145</c:v>
                </c:pt>
                <c:pt idx="7">
                  <c:v>52483.7099588751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2B4E-45D6-B204-EBFE00CBBF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axId val="215980031"/>
        <c:axId val="215980447"/>
      </c:lineChart>
      <c:catAx>
        <c:axId val="215980031"/>
        <c:scaling>
          <c:orientation/>
        </c:scaling>
        <c:delete val="0"/>
        <c:axPos val="b"/>
        <c:numFmt formatCode="General" sourceLinked="1"/>
        <c:majorTickMark val="none"/>
        <c:minorTickMark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p>
            <a:pPr>
              <a:defRPr sz="1600" b="0" i="0" u="none" strike="noStrike" kern="1200" baseline="0" smtId="4294967295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sz="1600" b="0" i="0" u="none" strike="noStrike" kern="1200" baseline="0" smtId="4294967295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c:txPr>
        <c:crossAx val="215980447"/>
        <c:crosses val="autoZero"/>
        <c:auto val="0"/>
        <c:lblAlgn val="ctr"/>
        <c:lblOffset/>
        <c:noMultiLvlLbl val="0"/>
      </c:catAx>
      <c:valAx>
        <c:axId val="215980447"/>
        <c:scaling>
          <c:orientation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&quot;$&quot;* #,##0_);_(&quot;$&quot;* \(#,##0\);_(&quot;$&quot;* &quot;-&quot;??_);_(@_)" sourceLinked="1"/>
        <c:majorTickMark val="none"/>
        <c:minorTickMark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p>
            <a:pPr>
              <a:defRPr sz="1600" b="0" i="0" u="none" strike="noStrike" kern="1200" baseline="0" smtId="4294967295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sz="1600" b="0" i="0" u="none" strike="noStrike" kern="1200" baseline="0" smtId="4294967295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c:txPr>
        <c:crossAx val="21598003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3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p>
          <a:pPr>
            <a:defRPr sz="1600" b="0" i="0" u="none" strike="noStrike" kern="1200" baseline="0" smtId="4294967295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sz="1600" b="0" i="0" u="none" strike="noStrike" kern="1200" baseline="0" smtId="4294967295">
            <a:solidFill>
              <a:schemeClr val="tx1">
                <a:lumMod val="65000"/>
                <a:lumOff val="35000"/>
              </a:schemeClr>
            </a:solidFill>
            <a:latin typeface="Times New Roman" panose="02020603050405020304" pitchFamily="18" charset="0"/>
            <a:ea typeface="+mn-ea"/>
            <a:cs typeface="Times New Roman" panose="02020603050405020304" pitchFamily="18" charset="0"/>
          </a:endParaRPr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p>
      <a:pPr>
        <a:defRPr sz="1600" smtId="4294967295">
          <a:latin typeface="Times New Roman" panose="02020603050405020304" pitchFamily="18" charset="0"/>
          <a:cs typeface="Times New Roman" panose="02020603050405020304" pitchFamily="18" charset="0"/>
        </a:defRPr>
      </a:pPr>
      <a:endParaRPr sz="1600" smtId="4294967295">
        <a:latin typeface="Times New Roman" panose="02020603050405020304" pitchFamily="18" charset="0"/>
        <a:cs typeface="Times New Roman" panose="02020603050405020304" pitchFamily="18" charset="0"/>
      </a:endParaRPr>
    </a:p>
  </c:txPr>
  <c:externalData r:id="rId1">
    <c:autoUpdate val="0"/>
  </c:externalData>
  <c:userShapes r:id="rId2"/>
</c:chartSpace>
</file>

<file path=ppt/charts/chart2.xml><?xml version="1.0" encoding="utf-8"?>
<c:chartSpace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c="http://schemas.openxmlformats.org/drawingml/20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ineChart>
        <c:grouping/>
        <c:varyColors val="0"/>
        <c:ser>
          <c:idx val="0"/>
          <c:order val="0"/>
          <c:spPr>
            <a:ln w="28575" cap="rnd">
              <a:solidFill>
                <a:sysClr val="windowText" lastClr="000000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tx1"/>
              </a:solidFill>
              <a:ln w="9525">
                <a:solidFill>
                  <a:schemeClr val="tx1"/>
                </a:solidFill>
              </a:ln>
              <a:effectLst/>
            </c:spPr>
          </c:marker>
          <c:dLbls>
            <c:dLbl>
              <c:idx val="0"/>
              <c:numFmt formatCode="" sourceLinked="1"/>
              <c:txPr>
                <a:bodyPr rot="0" spcFirstLastPara="1" vertOverflow="ellipsis" vert="horz" wrap="square" anchor="ctr" anchorCtr="1"/>
                <a:p>
                  <a:pPr>
                    <a:defRPr sz="1600" b="0" i="0" u="none" strike="noStrike" kern="1200" baseline="0" smtId="4294967295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sz="1600" b="0" i="0" u="none" strike="noStrike" kern="1200" baseline="0" smtId="4294967295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endParaRPr>
                </a:p>
              </c:txPr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B59-4F97-94A0-6F9B0008448B}"/>
                </c:ext>
              </c:extLst>
            </c:dLbl>
            <c:dLbl>
              <c:idx val="1"/>
              <c:numFmt formatCode="" sourceLinked="1"/>
              <c:txPr>
                <a:bodyPr rot="0" spcFirstLastPara="1" vertOverflow="ellipsis" vert="horz" wrap="square" anchor="ctr" anchorCtr="1"/>
                <a:p>
                  <a:pPr>
                    <a:defRPr sz="1600" b="0" i="0" u="none" strike="noStrike" kern="1200" baseline="0" smtId="4294967295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sz="1600" b="0" i="0" u="none" strike="noStrike" kern="1200" baseline="0" smtId="4294967295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endParaRPr>
                </a:p>
              </c:txPr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B59-4F97-94A0-6F9B0008448B}"/>
                </c:ext>
              </c:extLst>
            </c:dLbl>
            <c:dLbl>
              <c:idx val="2"/>
              <c:numFmt formatCode="" sourceLinked="1"/>
              <c:txPr>
                <a:bodyPr rot="0" spcFirstLastPara="1" vertOverflow="ellipsis" vert="horz" wrap="square" anchor="ctr" anchorCtr="1"/>
                <a:p>
                  <a:pPr>
                    <a:defRPr sz="1600" b="0" i="0" u="none" strike="noStrike" kern="1200" baseline="0" smtId="4294967295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sz="1600" b="0" i="0" u="none" strike="noStrike" kern="1200" baseline="0" smtId="4294967295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endParaRPr>
                </a:p>
              </c:txPr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B59-4F97-94A0-6F9B0008448B}"/>
                </c:ext>
              </c:extLst>
            </c:dLbl>
            <c:dLbl>
              <c:idx val="3"/>
              <c:numFmt formatCode="" sourceLinked="1"/>
              <c:txPr>
                <a:bodyPr rot="0" spcFirstLastPara="1" vertOverflow="ellipsis" vert="horz" wrap="square" anchor="ctr" anchorCtr="1"/>
                <a:p>
                  <a:pPr>
                    <a:defRPr sz="1600" b="0" i="0" u="none" strike="noStrike" kern="1200" baseline="0" smtId="4294967295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sz="1600" b="0" i="0" u="none" strike="noStrike" kern="1200" baseline="0" smtId="4294967295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endParaRPr>
                </a:p>
              </c:txPr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B59-4F97-94A0-6F9B0008448B}"/>
                </c:ext>
              </c:extLst>
            </c:dLbl>
            <c:dLbl>
              <c:idx val="4"/>
              <c:numFmt formatCode="" sourceLinked="1"/>
              <c:txPr>
                <a:bodyPr rot="0" spcFirstLastPara="1" vertOverflow="ellipsis" vert="horz" wrap="square" anchor="ctr" anchorCtr="1"/>
                <a:p>
                  <a:pPr>
                    <a:defRPr sz="1600" b="0" i="0" u="none" strike="noStrike" kern="1200" baseline="0" smtId="4294967295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sz="1600" b="0" i="0" u="none" strike="noStrike" kern="1200" baseline="0" smtId="4294967295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endParaRPr>
                </a:p>
              </c:txPr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B59-4F97-94A0-6F9B0008448B}"/>
                </c:ext>
              </c:extLst>
            </c:dLbl>
            <c:dLbl>
              <c:idx val="5"/>
              <c:layout>
                <c:manualLayout/>
              </c:layout>
              <c:tx>
                <c:rich>
                  <a:bodyPr/>
                  <a:lstStyle/>
                  <a:p>
                    <a:pPr>
                      <a:defRPr/>
                    </a:pPr>
                    <a:fld id="{987FAE89-3D83-4C7B-85E6-F3CFFB21BD5A}" type="CELLRANGE">
                      <a:rPr lang="en-US"/>
                      <a:t>[CELLRANGE]</a:t>
                    </a:fld>
                    <a:endParaRPr lang="en-US"/>
                  </a:p>
                </c:rich>
              </c:tx>
              <c:numFmt formatCode="" sourceLinked="1"/>
              <c:txPr>
                <a:bodyPr rot="0" spcFirstLastPara="1" vertOverflow="ellipsis" vert="horz" wrap="square" anchor="ctr" anchorCtr="1"/>
                <a:p>
                  <a:pPr>
                    <a:defRPr sz="1600" b="0" i="0" u="none" strike="noStrike" kern="1200" baseline="0" smtId="4294967295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sz="1600" b="0" i="0" u="none" strike="noStrike" kern="1200" baseline="0" smtId="4294967295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endParaRPr>
                </a:p>
              </c:txPr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2391001"/>
                      <c:h val="0.113356836"/>
                    </c:manualLayout>
                  </c15:layout>
                  <c15:showDataLabelsRange val="1"/>
                </c:ext>
                <c:ext xmlns:c16="http://schemas.microsoft.com/office/drawing/2014/chart" uri="{C3380CC4-5D6E-409C-BE32-E72D297353CC}">
                  <c16:uniqueId val="{00000005-3B59-4F97-94A0-6F9B0008448B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pPr>
                      <a:defRPr/>
                    </a:pPr>
                    <a:fld id="{DDC467AC-8BCA-418B-A1A4-3797872F629D}" type="CELLRANGE">
                      <a:rPr lang="en-US"/>
                      <a:t>[CELLRANGE]</a:t>
                    </a:fld>
                    <a:endParaRPr lang="en-US"/>
                  </a:p>
                </c:rich>
              </c:tx>
              <c:numFmt formatCode="" sourceLinked="1"/>
              <c:txPr>
                <a:bodyPr rot="0" spcFirstLastPara="1" vertOverflow="ellipsis" vert="horz" wrap="square" anchor="ctr" anchorCtr="1"/>
                <a:p>
                  <a:pPr>
                    <a:defRPr sz="1600" b="0" i="0" u="none" strike="noStrike" kern="1200" baseline="0" smtId="4294967295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sz="1600" b="0" i="0" u="none" strike="noStrike" kern="1200" baseline="0" smtId="4294967295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endParaRPr>
                </a:p>
              </c:txPr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1"/>
                </c:ext>
                <c:ext xmlns:c16="http://schemas.microsoft.com/office/drawing/2014/chart" uri="{C3380CC4-5D6E-409C-BE32-E72D297353CC}">
                  <c16:uniqueId val="{00000006-3B59-4F97-94A0-6F9B0008448B}"/>
                </c:ext>
              </c:extLst>
            </c:dLbl>
            <c:dLbl>
              <c:idx val="7"/>
              <c:layout>
                <c:manualLayout/>
              </c:layout>
              <c:numFmt formatCode="" sourceLinked="1"/>
              <c:txPr>
                <a:bodyPr rot="0" spcFirstLastPara="1" vertOverflow="ellipsis" vert="horz" wrap="square" anchor="ctr" anchorCtr="1"/>
                <a:p>
                  <a:pPr>
                    <a:defRPr sz="1600" b="0" i="0" u="none" strike="noStrike" kern="1200" baseline="0" smtId="4294967295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sz="1600" b="0" i="0" u="none" strike="noStrike" kern="1200" baseline="0" smtId="4294967295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endParaRPr>
                </a:p>
              </c:txPr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1343652"/>
                      <c:h val="0.1195946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3B59-4F97-94A0-6F9B0008448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p>
                <a:pPr>
                  <a:defRPr sz="1600" b="0" i="0" u="none" strike="noStrike" kern="1200" baseline="0" smtId="4294967295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sz="1600" b="0" i="0" u="none" strike="noStrike" kern="1200" baseline="0" smtId="4294967295">
                  <a:solidFill>
                    <a:schemeClr val="tx1">
                      <a:lumMod val="75000"/>
                      <a:lumOff val="25000"/>
                    </a:schemeClr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endParaRPr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</c:spPr>
                </c15:leaderLines>
                <c15:showDataLabelsRange val="1"/>
              </c:ext>
            </c:extLst>
          </c:dLbls>
          <c:cat>
            <c:strRef>
              <c:f>Research!$B$2:$I$2</c:f>
              <c:strCache>
                <c:ptCount val="8"/>
                <c:pt idx="0">
                  <c:v>FY2015</c:v>
                </c:pt>
                <c:pt idx="1">
                  <c:v>FY2016</c:v>
                </c:pt>
                <c:pt idx="2">
                  <c:v>FY2017</c:v>
                </c:pt>
                <c:pt idx="3">
                  <c:v>FY2018</c:v>
                </c:pt>
                <c:pt idx="4">
                  <c:v>FY2019</c:v>
                </c:pt>
                <c:pt idx="5">
                  <c:v>FY2020</c:v>
                </c:pt>
                <c:pt idx="6">
                  <c:v>FY2021</c:v>
                </c:pt>
                <c:pt idx="7">
                  <c:v>FY2022</c:v>
                </c:pt>
              </c:strCache>
            </c:strRef>
          </c:cat>
          <c:val>
            <c:numRef>
              <c:f>Research!$B$7:$I$7</c:f>
              <c:numCache>
                <c:formatCode>_("$"* #,##0_);_("$"* \(#,##0\);_("$"* "-"??_);_(@_)</c:formatCode>
                <c:ptCount val="8"/>
                <c:pt idx="0">
                  <c:v>280019.07086000004</c:v>
                </c:pt>
                <c:pt idx="1">
                  <c:v>280172.43811</c:v>
                </c:pt>
                <c:pt idx="2">
                  <c:v>296318.32868000004</c:v>
                </c:pt>
                <c:pt idx="3">
                  <c:v>298673.24186</c:v>
                </c:pt>
                <c:pt idx="4">
                  <c:v>316085.97852999996</c:v>
                </c:pt>
                <c:pt idx="5">
                  <c:v>354931.28907000006</c:v>
                </c:pt>
                <c:pt idx="6">
                  <c:v>376928.39109</c:v>
                </c:pt>
                <c:pt idx="7">
                  <c:v>433717.45364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3B59-4F97-94A0-6F9B0008448B}"/>
            </c:ext>
            <c:ext xmlns:c15="http://schemas.microsoft.com/office/drawing/2012/chart" uri="{02D57815-91ED-43cb-92C2-25804820EDAC}">
              <c15:datalabelsRange xmlns:c15="http://schemas.microsoft.com/office/drawing/2012/chart">
                <c15:f>Research!$B$8:$I$8</c15:f>
                <c15:dlblRangeCache>
                  <c:ptCount val="8"/>
                  <c:pt idx="7">
                    <c:v>55% growth</c:v>
                  </c:pt>
                </c15:dlblRangeCache>
              </c15:datalabelsRange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axId val="1720095663"/>
        <c:axId val="1720103151"/>
      </c:lineChart>
      <c:catAx>
        <c:axId val="1720095663"/>
        <c:scaling>
          <c:orientation/>
        </c:scaling>
        <c:delete val="0"/>
        <c:axPos val="b"/>
        <c:numFmt formatCode="General" sourceLinked="1"/>
        <c:majorTickMark val="none"/>
        <c:minorTickMark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p>
            <a:pPr>
              <a:defRPr sz="1600" b="0" i="0" u="none" strike="noStrike" kern="1200" baseline="0" smtId="4294967295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sz="1600" b="0" i="0" u="none" strike="noStrike" kern="1200" baseline="0" smtId="4294967295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c:txPr>
        <c:crossAx val="1720103151"/>
        <c:crosses val="autoZero"/>
        <c:auto val="0"/>
        <c:lblAlgn val="ctr"/>
        <c:lblOffset/>
        <c:noMultiLvlLbl val="0"/>
      </c:catAx>
      <c:valAx>
        <c:axId val="1720103151"/>
        <c:scaling>
          <c:orientation/>
          <c:min val="15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n-US"/>
                  <a:t>Total Grant and Contract $'s in 000'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p>
              <a:pPr>
                <a:defRPr sz="1600" b="0" i="0" u="none" strike="noStrike" kern="1200" baseline="0" smtId="4294967295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defRPr>
              </a:pPr>
              <a:endParaRPr sz="1600" b="0" i="0" u="none" strike="noStrike" kern="1200" baseline="0" smtId="4294967295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c:txPr>
        </c:title>
        <c:numFmt formatCode="_(&quot;$&quot;* #,##0_);_(&quot;$&quot;* \(#,##0\);_(&quot;$&quot;* &quot;-&quot;??_);_(@_)" sourceLinked="1"/>
        <c:majorTickMark val="none"/>
        <c:minorTickMark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p>
            <a:pPr>
              <a:defRPr sz="1600" b="0" i="0" u="none" strike="noStrike" kern="1200" baseline="0" smtId="4294967295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sz="1600" b="0" i="0" u="none" strike="noStrike" kern="1200" baseline="0" smtId="4294967295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c:txPr>
        <c:crossAx val="1720095663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p>
      <a:pPr>
        <a:defRPr sz="1600" smtId="4294967295">
          <a:latin typeface="Times New Roman" panose="02020603050405020304" pitchFamily="18" charset="0"/>
          <a:cs typeface="Times New Roman" panose="02020603050405020304" pitchFamily="18" charset="0"/>
        </a:defRPr>
      </a:pPr>
      <a:endParaRPr sz="1600" smtId="4294967295">
        <a:latin typeface="Times New Roman" panose="02020603050405020304" pitchFamily="18" charset="0"/>
        <a:cs typeface="Times New Roman" panose="02020603050405020304" pitchFamily="18" charset="0"/>
      </a:endParaRPr>
    </a:p>
  </c:txPr>
  <c:externalData r:id="rId1">
    <c:autoUpdate val="0"/>
  </c:externalData>
  <c:userShapes r:id="rId2"/>
</c:chartSpace>
</file>

<file path=ppt/charts/chart3.xml><?xml version="1.0" encoding="utf-8"?>
<c:chartSpace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c="http://schemas.openxmlformats.org/drawingml/20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ineChart>
        <c:grouping/>
        <c:varyColors val="0"/>
        <c:ser>
          <c:idx val="0"/>
          <c:order val="0"/>
          <c:spPr>
            <a:ln w="28575" cap="rnd">
              <a:solidFill>
                <a:sysClr val="windowText" lastClr="000000"/>
              </a:solidFill>
              <a:round/>
            </a:ln>
            <a:effectLst/>
          </c:spPr>
          <c:marker>
            <c:symbol val="circle"/>
            <c:size val="8"/>
            <c:spPr>
              <a:solidFill>
                <a:schemeClr val="tx1"/>
              </a:solidFill>
              <a:ln w="9525">
                <a:solidFill>
                  <a:schemeClr val="tx1"/>
                </a:solidFill>
              </a:ln>
              <a:effectLst/>
            </c:spPr>
          </c:marker>
          <c:cat>
            <c:strRef>
              <c:f>Research!$B$2:$I$2</c:f>
              <c:strCache>
                <c:ptCount val="8"/>
                <c:pt idx="0">
                  <c:v>FY2015</c:v>
                </c:pt>
                <c:pt idx="1">
                  <c:v>FY2016</c:v>
                </c:pt>
                <c:pt idx="2">
                  <c:v>FY2017</c:v>
                </c:pt>
                <c:pt idx="3">
                  <c:v>FY2018</c:v>
                </c:pt>
                <c:pt idx="4">
                  <c:v>FY2019</c:v>
                </c:pt>
                <c:pt idx="5">
                  <c:v>FY2020</c:v>
                </c:pt>
                <c:pt idx="6">
                  <c:v>FY2021</c:v>
                </c:pt>
                <c:pt idx="7">
                  <c:v>FY2022</c:v>
                </c:pt>
              </c:strCache>
            </c:strRef>
          </c:cat>
          <c:val>
            <c:numRef>
              <c:f>Research!$B$12:$I$12</c:f>
              <c:numCache>
                <c:formatCode>_("$"* #,##0_);_("$"* \(#,##0\);_("$"* "-"??_);_(@_)</c:formatCode>
                <c:ptCount val="8"/>
                <c:pt idx="0">
                  <c:v>115424.18419620776</c:v>
                </c:pt>
                <c:pt idx="1">
                  <c:v>119885.51053059478</c:v>
                </c:pt>
                <c:pt idx="2">
                  <c:v>125932.14138546537</c:v>
                </c:pt>
                <c:pt idx="3">
                  <c:v>130368.0671584461</c:v>
                </c:pt>
                <c:pt idx="4">
                  <c:v>139861.05244690264</c:v>
                </c:pt>
                <c:pt idx="5">
                  <c:v>166947.9252445908</c:v>
                </c:pt>
                <c:pt idx="6">
                  <c:v>189316.11807634353</c:v>
                </c:pt>
                <c:pt idx="7">
                  <c:v>226721.0944328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AE3-4288-90DE-50972A7C4B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axId val="1720095663"/>
        <c:axId val="1720103151"/>
      </c:lineChart>
      <c:catAx>
        <c:axId val="1720095663"/>
        <c:scaling>
          <c:orientation/>
        </c:scaling>
        <c:delete val="0"/>
        <c:axPos val="b"/>
        <c:numFmt formatCode="General" sourceLinked="1"/>
        <c:majorTickMark val="none"/>
        <c:minorTickMark val="none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p>
            <a:pPr>
              <a:defRPr sz="1600" b="0" i="0" u="none" strike="noStrike" kern="1200" baseline="0" smtId="4294967295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sz="1600" b="0" i="0" u="none" strike="noStrike" kern="1200" baseline="0" smtId="4294967295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c:txPr>
        <c:crossAx val="1720103151"/>
        <c:crosses val="autoZero"/>
        <c:auto val="0"/>
        <c:lblAlgn val="ctr"/>
        <c:lblOffset/>
        <c:noMultiLvlLbl val="0"/>
      </c:catAx>
      <c:valAx>
        <c:axId val="1720103151"/>
        <c:scaling>
          <c:orientation/>
          <c:min val="1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r>
                  <a:rPr lang="en-US"/>
                  <a:t>Grants and Contracts per T/TT Faculty and Full-time Research Faculty 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p>
              <a:pPr>
                <a:defRPr sz="1600" b="0" i="0" u="none" strike="noStrike" kern="1200" baseline="0" smtId="4294967295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defRPr>
              </a:pPr>
              <a:endParaRPr sz="1600" b="0" i="0" u="none" strike="noStrike" kern="1200" baseline="0" smtId="4294967295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c:txPr>
        </c:title>
        <c:numFmt formatCode="_(&quot;$&quot;* #,##0_);_(&quot;$&quot;* \(#,##0\);_(&quot;$&quot;* &quot;-&quot;??_);_(@_)" sourceLinked="1"/>
        <c:majorTickMark val="none"/>
        <c:minorTickMark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p>
            <a:pPr>
              <a:defRPr sz="1600" b="0" i="0" u="none" strike="noStrike" kern="1200" baseline="0" smtId="4294967295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sz="1600" b="0" i="0" u="none" strike="noStrike" kern="1200" baseline="0" smtId="4294967295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c:txPr>
        <c:crossAx val="1720095663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p>
      <a:pPr>
        <a:defRPr sz="1600" smtId="4294967295">
          <a:latin typeface="Times New Roman" panose="02020603050405020304" pitchFamily="18" charset="0"/>
          <a:cs typeface="Times New Roman" panose="02020603050405020304" pitchFamily="18" charset="0"/>
        </a:defRPr>
      </a:pPr>
      <a:endParaRPr sz="1600" smtId="4294967295">
        <a:latin typeface="Times New Roman" panose="02020603050405020304" pitchFamily="18" charset="0"/>
        <a:cs typeface="Times New Roman" panose="02020603050405020304" pitchFamily="18" charset="0"/>
      </a:endParaRPr>
    </a:p>
  </c:txPr>
  <c:externalData r:id="rId1">
    <c:autoUpdate val="0"/>
  </c:externalData>
  <c:userShapes r:id="rId2"/>
</c:chartSpace>
</file>

<file path=ppt/charts/colors1.xml><?xml version="1.0" encoding="utf-8"?>
<cs:colorStyle xmlns:a="http://schemas.openxmlformats.org/drawingml/2006/main" xmlns:cs="http://schemas.microsoft.com/office/drawing/2012/chartStyle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a="http://schemas.openxmlformats.org/drawingml/2006/main" xmlns:cs="http://schemas.microsoft.com/office/drawing/2012/chartStyle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a="http://schemas.openxmlformats.org/drawingml/2006/main" xmlns:cs="http://schemas.microsoft.com/office/drawing/2012/chartStyle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a="http://schemas.openxmlformats.org/drawingml/2006/main" xmlns:r="http://schemas.openxmlformats.org/officeDocument/2006/relationships" xmlns:cs="http://schemas.microsoft.com/office/drawing/2012/chartStyle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a="http://schemas.openxmlformats.org/drawingml/2006/main" xmlns:r="http://schemas.openxmlformats.org/officeDocument/2006/relationships" xmlns:cs="http://schemas.microsoft.com/office/drawing/2012/chartStyle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a="http://schemas.openxmlformats.org/drawingml/2006/main" xmlns:r="http://schemas.openxmlformats.org/officeDocument/2006/relationships" xmlns:cs="http://schemas.microsoft.com/office/drawing/2012/chartStyle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5.emf" /></Relationships>
</file>

<file path=ppt/drawings/drawing1.xml><?xml version="1.0" encoding="utf-8"?>
<c:userShapes xmlns:cdr="http://schemas.openxmlformats.org/drawingml/2006/chartDrawing"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="http://schemas.openxmlformats.org/presentationml/2006/main" xmlns:p14="http://schemas.microsoft.com/office/powerpoint/2010/main" xmlns:c="http://schemas.openxmlformats.org/drawingml/2006/chart">
  <cdr:relSizeAnchor>
    <cdr:from>
      <cdr:x>0.78819</cdr:x>
      <cdr:y>0.18589</cdr:y>
    </cdr:from>
    <cdr:to>
      <cdr:x>1</cdr:x>
      <cdr:y>0.26805</cdr:y>
    </cdr:to>
    <cdr:sp macro="" textlink="">
      <cdr:nvSpPr>
        <cdr:cNvPr id="2" name="Text Box 1"/>
        <cdr:cNvSpPr txBox="1"/>
      </cdr:nvSpPr>
      <cdr:spPr>
        <a:xfrm>
          <a:off x="8288274" y="919226"/>
          <a:ext cx="2227326" cy="406273"/>
        </a:xfrm>
        <a:prstGeom prst="rect">
          <a:avLst/>
        </a:prstGeom>
      </cdr:spPr>
      <cdr:txBody>
        <a:bodyPr vertOverflow="clip" wrap="square" rtlCol="0"/>
        <a:lstStyle/>
        <a:p>
          <a:r>
            <a:rPr lang="en-US" sz="1600" b="1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25% </a:t>
          </a:r>
          <a:r>
            <a:rPr lang="en-US" sz="1800" b="1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Efficiency</a:t>
          </a:r>
          <a:endParaRPr lang="en-US" sz="1100" b="1">
            <a:solidFill>
              <a:srgbClr val="00206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>
    <cdr:from>
      <cdr:x>0.93634</cdr:x>
      <cdr:y>0.15096</cdr:y>
    </cdr:from>
    <cdr:to>
      <cdr:x>0.9375</cdr:x>
      <cdr:y>0.30192</cdr:y>
    </cdr:to>
    <cdr:cxnSp>
      <cdr:nvCxnSpPr>
        <cdr:cNvPr id="4" name="Straight Arrow Connector 3">
          <a:extLst>
            <a:ext uri="{FF2B5EF4-FFF2-40B4-BE49-F238E27FC236}">
              <a16:creationId xmlns:a16="http://schemas.microsoft.com/office/drawing/2014/main" id="{AD7376EB-63D5-0E99-B396-BF0AEC65D09D}"/>
            </a:ext>
          </a:extLst>
        </cdr:cNvPr>
        <cdr:cNvCxnSpPr/>
      </cdr:nvCxnSpPr>
      <cdr:spPr>
        <a:xfrm flipH="1" flipV="1">
          <a:off x="9846183" y="746506"/>
          <a:ext cx="12192" cy="746506"/>
        </a:xfrm>
        <a:prstGeom prst="straightConnector1">
          <a:avLst/>
        </a:prstGeom>
        <a:ln>
          <a:solidFill>
            <a:srgbClr val="002060"/>
          </a:solidFill>
          <a:headEnd type="triangle"/>
          <a:tailEnd type="triangle"/>
        </a:ln>
      </cdr:spPr>
      <cdr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cdr:style>
    </cdr:cxnSp>
  </cdr:relSizeAnchor>
</c:userShapes>
</file>

<file path=ppt/drawings/drawing2.xml><?xml version="1.0" encoding="utf-8"?>
<c:userShapes xmlns:cdr="http://schemas.openxmlformats.org/drawingml/2006/chartDrawing"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="http://schemas.openxmlformats.org/presentationml/2006/main" xmlns:p14="http://schemas.microsoft.com/office/powerpoint/2010/main" xmlns:c="http://schemas.openxmlformats.org/drawingml/2006/chart">
  <cdr:relSizeAnchor>
    <cdr:from>
      <cdr:x>0.341</cdr:x>
      <cdr:y>0.03843</cdr:y>
    </cdr:from>
    <cdr:to>
      <cdr:x>0.79496</cdr:x>
      <cdr:y>0.15452</cdr:y>
    </cdr:to>
    <cdr:sp macro="" textlink="">
      <cdr:nvSpPr>
        <cdr:cNvPr id="2" name="TextBox 1">
          <a:extLst>
            <a:ext uri="{FF2B5EF4-FFF2-40B4-BE49-F238E27FC236}">
              <a16:creationId xmlns:a16="http://schemas.microsoft.com/office/drawing/2014/main" id="{E31E2982-DE38-4F59-A2D7-911990E75246}"/>
            </a:ext>
          </a:extLst>
        </cdr:cNvPr>
        <cdr:cNvSpPr txBox="1"/>
      </cdr:nvSpPr>
      <cdr:spPr>
        <a:xfrm>
          <a:off x="2078736" y="190500"/>
          <a:ext cx="2767330" cy="575437"/>
        </a:xfrm>
        <a:prstGeom prst="rect">
          <a:avLst/>
        </a:prstGeom>
      </cdr:spPr>
      <cdr:txBody>
        <a:bodyPr vertOverflow="clip" wrap="square" rtlCol="0"/>
        <a:lstStyle/>
        <a:p>
          <a:r>
            <a:rPr lang="en-US" sz="1600">
              <a:latin typeface="Times New Roman" panose="02020603050405020304" pitchFamily="18" charset="0"/>
              <a:cs typeface="Times New Roman" panose="02020603050405020304" pitchFamily="18" charset="0"/>
            </a:rPr>
            <a:t>Total Grants &amp; Contracts</a:t>
          </a:r>
        </a:p>
      </cdr:txBody>
    </cdr:sp>
  </cdr:relSizeAnchor>
</c:userShapes>
</file>

<file path=ppt/drawings/drawing3.xml><?xml version="1.0" encoding="utf-8"?>
<c:userShapes xmlns:cdr="http://schemas.openxmlformats.org/drawingml/2006/chartDrawing"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="http://schemas.openxmlformats.org/presentationml/2006/main" xmlns:p14="http://schemas.microsoft.com/office/powerpoint/2010/main" xmlns:c="http://schemas.openxmlformats.org/drawingml/2006/chart">
  <cdr:relSizeAnchor>
    <cdr:from>
      <cdr:x>0.30792</cdr:x>
      <cdr:y>0.0289</cdr:y>
    </cdr:from>
    <cdr:to>
      <cdr:x>0.96989</cdr:x>
      <cdr:y>0.1456</cdr:y>
    </cdr:to>
    <cdr:sp macro="" textlink="">
      <cdr:nvSpPr>
        <cdr:cNvPr id="2" name="TextBox 1">
          <a:extLst>
            <a:ext uri="{FF2B5EF4-FFF2-40B4-BE49-F238E27FC236}">
              <a16:creationId xmlns:a16="http://schemas.microsoft.com/office/drawing/2014/main" id="{9B731AAC-3D6B-C88E-A4F1-2520632ACC0D}"/>
            </a:ext>
          </a:extLst>
        </cdr:cNvPr>
        <cdr:cNvSpPr txBox="1"/>
      </cdr:nvSpPr>
      <cdr:spPr>
        <a:xfrm>
          <a:off x="1730121" y="142494"/>
          <a:ext cx="3719449" cy="575437"/>
        </a:xfrm>
        <a:prstGeom prst="rect">
          <a:avLst/>
        </a:prstGeom>
      </cdr:spPr>
      <cdr:txBody>
        <a:bodyPr wrap="square" rtlCol="0"/>
        <a:lstStyle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>
          <a:r>
            <a:rPr lang="en-US" sz="1600">
              <a:latin typeface="Times New Roman" panose="02020603050405020304" pitchFamily="18" charset="0"/>
              <a:cs typeface="Times New Roman" panose="02020603050405020304" pitchFamily="18" charset="0"/>
            </a:rPr>
            <a:t>Total Grants &amp; Contracts per TT Faculty</a:t>
          </a:r>
        </a:p>
      </cdr:txBody>
    </cdr:sp>
  </cdr:relSizeAnchor>
</c:userShapes>
</file>

<file path=ppt/handoutMasters/_rels/handoutMaster1.xml.rels>&#65279;<?xml version="1.0" encoding="utf-8" standalone="yes"?><Relationships xmlns="http://schemas.openxmlformats.org/package/2006/relationships"><Relationship Id="rId1" Type="http://schemas.openxmlformats.org/officeDocument/2006/relationships/theme" Target="../theme/theme3.xml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 name="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38475" cy="466725"/>
          </a:xfrm>
          <a:prstGeom prst="rect">
            <a:avLst/>
          </a:prstGeom>
        </p:spPr>
        <p:txBody>
          <a:bodyPr vert="horz" lIns="91427" tIns="45713" rIns="91427" bIns="45713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9" y="1"/>
            <a:ext cx="3038475" cy="466725"/>
          </a:xfrm>
          <a:prstGeom prst="rect">
            <a:avLst/>
          </a:prstGeom>
        </p:spPr>
        <p:txBody>
          <a:bodyPr vert="horz" lIns="91427" tIns="45713" rIns="91427" bIns="45713" rtlCol="0"/>
          <a:lstStyle>
            <a:lvl1pPr algn="r">
              <a:defRPr sz="1200"/>
            </a:lvl1pPr>
          </a:lstStyle>
          <a:p>
            <a:fld id="{CB21EB82-67C5-4A7C-9B81-318157811959}" type="datetimeFigureOut">
              <a:rPr lang="en-US" smtClean="0"/>
              <a:t>3/31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29676"/>
            <a:ext cx="3038475" cy="466725"/>
          </a:xfrm>
          <a:prstGeom prst="rect">
            <a:avLst/>
          </a:prstGeom>
        </p:spPr>
        <p:txBody>
          <a:bodyPr vert="horz" lIns="91427" tIns="45713" rIns="91427" bIns="45713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9" y="8829676"/>
            <a:ext cx="3038475" cy="466725"/>
          </a:xfrm>
          <a:prstGeom prst="rect">
            <a:avLst/>
          </a:prstGeom>
        </p:spPr>
        <p:txBody>
          <a:bodyPr vert="horz" lIns="91427" tIns="45713" rIns="91427" bIns="45713" rtlCol="0" anchor="b"/>
          <a:lstStyle>
            <a:lvl1pPr algn="r">
              <a:defRPr sz="1200"/>
            </a:lvl1pPr>
          </a:lstStyle>
          <a:p>
            <a:fld id="{0997D890-060B-4DBA-8119-7BCAE48F62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62547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&#65279;<?xml version="1.0" encoding="utf-8" standalone="yes"?><Relationships xmlns="http://schemas.openxmlformats.org/package/2006/relationships"><Relationship Id="rId1" Type="http://schemas.openxmlformats.org/officeDocument/2006/relationships/theme" Target="../theme/theme2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 name=""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</a:xfrm>
      </p:grpSpPr>
      <p:sp>
        <p:nvSpPr>
          <p:cNvPr id="3" name="Shape 3"/>
          <p:cNvSpPr txBox="1">
            <a:spLocks noGrp="1"/>
          </p:cNvSpPr>
          <p:nvPr>
            <p:ph type="hdr" idx="2"/>
          </p:nvPr>
        </p:nvSpPr>
        <p:spPr>
          <a:xfrm>
            <a:off x="0" y="1"/>
            <a:ext cx="3037840" cy="466434"/>
          </a:xfrm>
          <a:prstGeom prst="rect">
            <a:avLst/>
          </a:prstGeom>
          <a:noFill/>
          <a:ln>
            <a:noFill/>
          </a:ln>
        </p:spPr>
        <p:txBody>
          <a:bodyPr wrap="square" lIns="91411" tIns="91411" rIns="91411" bIns="91411" anchor="t" anchorCtr="0"/>
          <a:lstStyle>
            <a:lvl1pPr marL="0" marR="0" lvl="0" indent="0" algn="l" rtl="0">
              <a:spcBef>
                <a:spcPct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133" marR="0" lvl="1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266" marR="0" lvl="2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399" marR="0" lvl="3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532" marR="0" lvl="4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5665" marR="0" lvl="5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2798" marR="0" lvl="6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199931" marR="0" lvl="7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064" marR="0" lvl="8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Shape 4"/>
          <p:cNvSpPr txBox="1">
            <a:spLocks noGrp="1"/>
          </p:cNvSpPr>
          <p:nvPr>
            <p:ph type="dt" idx="10"/>
          </p:nvPr>
        </p:nvSpPr>
        <p:spPr>
          <a:xfrm>
            <a:off x="3970938" y="1"/>
            <a:ext cx="3037840" cy="466434"/>
          </a:xfrm>
          <a:prstGeom prst="rect">
            <a:avLst/>
          </a:prstGeom>
          <a:noFill/>
          <a:ln>
            <a:noFill/>
          </a:ln>
        </p:spPr>
        <p:txBody>
          <a:bodyPr wrap="square" lIns="91411" tIns="91411" rIns="91411" bIns="91411" anchor="t" anchorCtr="0"/>
          <a:lstStyle>
            <a:lvl1pPr marL="0" marR="0" lvl="0" indent="0" algn="r" rtl="0">
              <a:spcBef>
                <a:spcPct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133" marR="0" lvl="1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266" marR="0" lvl="2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399" marR="0" lvl="3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532" marR="0" lvl="4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5665" marR="0" lvl="5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2798" marR="0" lvl="6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199931" marR="0" lvl="7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064" marR="0" lvl="8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Shape 5"/>
          <p:cNvSpPr>
            <a:spLocks noGrp="1" noRot="1" noChangeAspect="1"/>
          </p:cNvSpPr>
          <p:nvPr>
            <p:ph type="sldImg" idx="3"/>
          </p:nvPr>
        </p:nvSpPr>
        <p:spPr>
          <a:xfrm>
            <a:off x="717550" y="1162050"/>
            <a:ext cx="5575300" cy="3136900"/>
          </a:xfrm>
          <a:custGeom>
            <a:rect l="0" t="0" r="0" b="0"/>
            <a:pathLst>
              <a:path w="119999" h="119999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6" name="Shape 6"/>
          <p:cNvSpPr txBox="1">
            <a:spLocks noGrp="1"/>
          </p:cNvSpPr>
          <p:nvPr>
            <p:ph type="body" idx="1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  <a:noFill/>
          <a:ln>
            <a:noFill/>
          </a:ln>
        </p:spPr>
        <p:txBody>
          <a:bodyPr wrap="square" lIns="91411" tIns="91411" rIns="91411" bIns="91411" anchor="t" anchorCtr="0"/>
          <a:lstStyle>
            <a:lvl1pPr marL="0" marR="0" lvl="0" indent="0" algn="l" rtl="0">
              <a:spcBef>
                <a:spcPct val="0"/>
              </a:spcBef>
              <a:buChar char="●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ct val="0"/>
              </a:spcBef>
              <a:buChar char="○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ct val="0"/>
              </a:spcBef>
              <a:buChar char="■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ct val="0"/>
              </a:spcBef>
              <a:buChar char="●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ct val="0"/>
              </a:spcBef>
              <a:buChar char="○"/>
              <a:defRPr sz="11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ct val="0"/>
              </a:spcBef>
              <a:buChar char="■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ct val="0"/>
              </a:spcBef>
              <a:buChar char="●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ct val="0"/>
              </a:spcBef>
              <a:buChar char="○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ct val="0"/>
              </a:spcBef>
              <a:buChar char="■"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ftr" idx="11"/>
          </p:nvPr>
        </p:nvSpPr>
        <p:spPr>
          <a:xfrm>
            <a:off x="0" y="8829968"/>
            <a:ext cx="3037840" cy="466433"/>
          </a:xfrm>
          <a:prstGeom prst="rect">
            <a:avLst/>
          </a:prstGeom>
          <a:noFill/>
          <a:ln>
            <a:noFill/>
          </a:ln>
        </p:spPr>
        <p:txBody>
          <a:bodyPr wrap="square" lIns="91411" tIns="91411" rIns="91411" bIns="91411" anchor="b" anchorCtr="0"/>
          <a:lstStyle>
            <a:lvl1pPr marL="0" marR="0" lvl="0" indent="0" algn="l" rtl="0">
              <a:spcBef>
                <a:spcPct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133" marR="0" lvl="1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266" marR="0" lvl="2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399" marR="0" lvl="3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532" marR="0" lvl="4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5665" marR="0" lvl="5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2798" marR="0" lvl="6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199931" marR="0" lvl="7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064" marR="0" lvl="8" indent="0" algn="l" rtl="0">
              <a:spcBef>
                <a:spcPct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Shape 8"/>
          <p:cNvSpPr txBox="1">
            <a:spLocks noGrp="1"/>
          </p:cNvSpPr>
          <p:nvPr>
            <p:ph type="sldNum" idx="12"/>
          </p:nvPr>
        </p:nvSpPr>
        <p:spPr>
          <a:xfrm>
            <a:off x="3970938" y="8829968"/>
            <a:ext cx="3037840" cy="466433"/>
          </a:xfrm>
          <a:prstGeom prst="rect">
            <a:avLst/>
          </a:prstGeom>
          <a:noFill/>
          <a:ln>
            <a:noFill/>
          </a:ln>
        </p:spPr>
        <p:txBody>
          <a:bodyPr wrap="square" lIns="93161" tIns="46568" rIns="93161" bIns="46568" anchor="b" anchorCtr="0">
            <a:noAutofit/>
          </a:bodyPr>
          <a:lstStyle/>
          <a:p>
            <a:pPr algn="r">
              <a:buSzPct val="25000"/>
            </a:pPr>
            <a:fld id="{00000000-1234-1234-1234-123412341234}" type="slidenum">
              <a:rPr lang="en-US" sz="120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pPr algn="r">
                <a:buSzPct val="25000"/>
              </a:pPr>
              <a:t>‹#›</a:t>
            </a:fld>
            <a:endParaRPr lang="en-US"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50125464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2.xml" /><Relationship Id="rId2" Type="http://schemas.openxmlformats.org/officeDocument/2006/relationships/notesMaster" Target="../notesMasters/notesMaster1.xml" /></Relationships>
</file>

<file path=ppt/notesSlides/_rels/notesSlide2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3.xml" /><Relationship Id="rId2" Type="http://schemas.openxmlformats.org/officeDocument/2006/relationships/notesMaster" Target="../notesMasters/notesMaster1.xml" /></Relationships>
</file>

<file path=ppt/notesSlides/_rels/notesSlide3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4.xml" /><Relationship Id="rId2" Type="http://schemas.openxmlformats.org/officeDocument/2006/relationships/notesMaster" Target="../notesMasters/notesMaster1.xml" /></Relationships>
</file>

<file path=ppt/notesSlides/_rels/notesSlide4.xml.rels>&#65279;<?xml version="1.0" encoding="utf-8" standalone="yes"?><Relationships xmlns="http://schemas.openxmlformats.org/package/2006/relationships"><Relationship Id="rId1" Type="http://schemas.openxmlformats.org/officeDocument/2006/relationships/slide" Target="../slides/slide6.xml" /><Relationship Id="rId2" Type="http://schemas.openxmlformats.org/officeDocument/2006/relationships/notesMaster" Target="../notesMasters/notesMaster1.xml" /></Relationships>
</file>

<file path=ppt/notesSlides/notesSlide1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 name="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>
              <a:buSzPct val="25000"/>
            </a:pPr>
            <a:fld id="{00000000-1234-1234-1234-123412341234}" type="slidenum">
              <a:rPr lang="en-US" sz="120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pPr algn="r">
                <a:buSzPct val="25000"/>
              </a:pPr>
              <a:t>20</a:t>
            </a:fld>
            <a:endParaRPr lang="en-US"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840421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 name="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>
              <a:buSzPct val="25000"/>
            </a:pPr>
            <a:fld id="{00000000-1234-1234-1234-123412341234}" type="slidenum">
              <a:rPr lang="en-US" sz="120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pPr algn="r">
                <a:buSzPct val="25000"/>
              </a:pPr>
              <a:t>21</a:t>
            </a:fld>
            <a:endParaRPr lang="en-US"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61749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 name="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t the same time, inflation increased by 25%.</a:t>
            </a:r>
          </a:p>
          <a:p>
            <a:r>
              <a:rPr lang="en-US"/>
              <a:t>Eliminated Colleges?</a:t>
            </a:r>
          </a:p>
          <a:p>
            <a:r>
              <a:rPr lang="en-US"/>
              <a:t>Degree program closures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>
              <a:buSzPct val="25000"/>
            </a:pPr>
            <a:fld id="{00000000-1234-1234-1234-123412341234}" type="slidenum">
              <a:rPr lang="en-US" sz="120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pPr algn="r">
                <a:buSzPct val="25000"/>
              </a:pPr>
              <a:t>22</a:t>
            </a:fld>
            <a:endParaRPr lang="en-US"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050785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="http://schemas.openxmlformats.org/presentationml/2006/main">
  <p:cSld name="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Over 1,000 office/admin positions eliminat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>
              <a:buSzPct val="25000"/>
            </a:pPr>
            <a:fld id="{00000000-1234-1234-1234-123412341234}" type="slidenum">
              <a:rPr lang="en-US" sz="120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pPr algn="r">
                <a:buSzPct val="25000"/>
              </a:pPr>
              <a:t>24</a:t>
            </a:fld>
            <a:endParaRPr lang="en-US" sz="12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56745073"/>
      </p:ext>
    </p:extLst>
  </p:cSld>
  <p:clrMapOvr>
    <a:masterClrMapping/>
  </p:clrMapOvr>
</p:notes>
</file>

<file path=ppt/slideLayouts/_rels/slideLayout1.x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1.png" /><Relationship Id="rId2" Type="http://schemas.openxmlformats.org/officeDocument/2006/relationships/slideMaster" Target="../slideMasters/slideMaster1.xml" /></Relationships>
</file>

<file path=ppt/slideLayouts/_rels/slideLayout10.x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1.png" /><Relationship Id="rId2" Type="http://schemas.openxmlformats.org/officeDocument/2006/relationships/slideMaster" Target="../slideMasters/slideMaster1.xml" /></Relationships>
</file>

<file path=ppt/slideLayouts/_rels/slideLayout2.x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1.png" /><Relationship Id="rId2" Type="http://schemas.openxmlformats.org/officeDocument/2006/relationships/slideMaster" Target="../slideMasters/slideMaster1.xml" /></Relationships>
</file>

<file path=ppt/slideLayouts/_rels/slideLayout3.x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1.png" /><Relationship Id="rId2" Type="http://schemas.openxmlformats.org/officeDocument/2006/relationships/slideMaster" Target="../slideMasters/slideMaster1.xml" /></Relationships>
</file>

<file path=ppt/slideLayouts/_rels/slideLayout4.x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2.png" /><Relationship Id="rId2" Type="http://schemas.openxmlformats.org/officeDocument/2006/relationships/slideMaster" Target="../slideMasters/slideMaster1.xml" /></Relationships>
</file>

<file path=ppt/slideLayouts/_rels/slideLayout5.x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1.png" /><Relationship Id="rId2" Type="http://schemas.openxmlformats.org/officeDocument/2006/relationships/slideMaster" Target="../slideMasters/slideMaster1.xml" /></Relationships>
</file>

<file path=ppt/slideLayouts/_rels/slideLayout6.x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3.png" /><Relationship Id="rId2" Type="http://schemas.openxmlformats.org/officeDocument/2006/relationships/slideMaster" Target="../slideMasters/slideMaster1.xml" /></Relationships>
</file>

<file path=ppt/slideLayouts/_rels/slideLayout7.x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1.png" /><Relationship Id="rId2" Type="http://schemas.openxmlformats.org/officeDocument/2006/relationships/slideMaster" Target="../slideMasters/slideMaster1.xml" /></Relationships>
</file>

<file path=ppt/slideLayouts/_rels/slideLayout8.x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3.png" /><Relationship Id="rId2" Type="http://schemas.openxmlformats.org/officeDocument/2006/relationships/slideMaster" Target="../slideMasters/slideMaster1.xml" /></Relationships>
</file>

<file path=ppt/slideLayouts/_rels/slideLayout9.x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4.png" /><Relationship Id="rId2" Type="http://schemas.openxmlformats.org/officeDocument/2006/relationships/slideMaster" Target="../slideMasters/slideMaster1.xml" /></Relationships>
</file>

<file path=ppt/slideLayouts/slideLayout1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type="objTx">
  <p:cSld name="Content with Caption">
    <p:spTree>
      <p:nvGrpSpPr>
        <p:cNvPr id="1" name="Shape 93"/>
        <p:cNvGrpSpPr/>
        <p:nvPr/>
      </p:nvGrpSpPr>
      <p:grpSpPr>
        <a:xfrm>
          <a:off x="0" y="0"/>
          <a:ext cx="0" cy="0"/>
        </a:xfrm>
      </p:grpSpPr>
      <p:sp>
        <p:nvSpPr>
          <p:cNvPr id="94" name="Shape 94"/>
          <p:cNvSpPr/>
          <p:nvPr/>
        </p:nvSpPr>
        <p:spPr>
          <a:xfrm>
            <a:off x="0" y="6093092"/>
            <a:ext cx="12192000" cy="768096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ct val="0"/>
              </a:spcBef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" name="Shape 95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ctr" rtl="0">
              <a:lnSpc>
                <a:spcPct val="90000"/>
              </a:lnSpc>
              <a:spcBef>
                <a:spcPct val="0"/>
              </a:spcBef>
              <a:buClr>
                <a:schemeClr val="dk2"/>
              </a:buClr>
              <a:buFont typeface="Arial"/>
              <a:buNone/>
              <a:defRPr sz="3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ct val="0"/>
              </a:spcBef>
              <a:buNone/>
              <a:defRPr sz="1800"/>
            </a:lvl2pPr>
            <a:lvl3pPr lvl="2" indent="0">
              <a:spcBef>
                <a:spcPct val="0"/>
              </a:spcBef>
              <a:buNone/>
              <a:defRPr sz="1800"/>
            </a:lvl3pPr>
            <a:lvl4pPr lvl="3" indent="0">
              <a:spcBef>
                <a:spcPct val="0"/>
              </a:spcBef>
              <a:buNone/>
              <a:defRPr sz="1800"/>
            </a:lvl4pPr>
            <a:lvl5pPr lvl="4" indent="0">
              <a:spcBef>
                <a:spcPct val="0"/>
              </a:spcBef>
              <a:buNone/>
              <a:defRPr sz="1800"/>
            </a:lvl5pPr>
            <a:lvl6pPr lvl="5" indent="0">
              <a:spcBef>
                <a:spcPct val="0"/>
              </a:spcBef>
              <a:buNone/>
              <a:defRPr sz="1800"/>
            </a:lvl6pPr>
            <a:lvl7pPr lvl="6" indent="0">
              <a:spcBef>
                <a:spcPct val="0"/>
              </a:spcBef>
              <a:buNone/>
              <a:defRPr sz="1800"/>
            </a:lvl7pPr>
            <a:lvl8pPr lvl="7" indent="0">
              <a:spcBef>
                <a:spcPct val="0"/>
              </a:spcBef>
              <a:buNone/>
              <a:defRPr sz="1800"/>
            </a:lvl8pPr>
            <a:lvl9pPr lvl="8" indent="0">
              <a:spcBef>
                <a:spcPct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96" name="Shape 96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228600" marR="0" lvl="0" indent="-25400" algn="l" rtl="0">
              <a:lnSpc>
                <a:spcPct val="90000"/>
              </a:lnSpc>
              <a:spcBef>
                <a:spcPts val="1000"/>
              </a:spcBef>
              <a:buClr>
                <a:schemeClr val="dk2"/>
              </a:buClr>
              <a:buSzTx/>
              <a:buFont typeface="Noto Sans Symbols"/>
              <a:buChar char="▪"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85800" marR="0" lvl="1" indent="-5080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SzTx/>
              <a:buFont typeface="Courier New"/>
              <a:buChar char="o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143000" marR="0" lvl="2" indent="-7620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SzTx/>
              <a:buFont typeface="Noto Sans Symbols"/>
              <a:buChar char="▪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600200" marR="0" lvl="3" indent="-10160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SzTx/>
              <a:buFont typeface="Courier New"/>
              <a:buChar char="o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057400" marR="0" lvl="4" indent="-10160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SzTx/>
              <a:buFont typeface="Noto Sans Symbols"/>
              <a:buChar char="▪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lvl="5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Tx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71800" marR="0" lvl="6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Tx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29000" marR="0" lvl="7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Tx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86200" marR="0" lvl="8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Tx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7" name="Shape 97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buClr>
                <a:schemeClr val="dk2"/>
              </a:buClr>
              <a:buFont typeface="Noto Sans Symbols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Font typeface="Courier New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Font typeface="Noto Sans Symbols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Font typeface="Courier New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Font typeface="Noto Sans Symbols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01" name="Shape 101"/>
          <p:cNvPicPr preferRelativeResize="0"/>
          <p:nvPr/>
        </p:nvPicPr>
        <p:blipFill>
          <a:blip r:embed="rId1">
            <a:alphaModFix/>
          </a:blip>
          <a:stretch>
            <a:fillRect/>
          </a:stretch>
        </p:blipFill>
        <p:spPr>
          <a:xfrm>
            <a:off x="872268" y="6248540"/>
            <a:ext cx="3425853" cy="45681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966E25-C55F-42B3-9780-03391B676201}" type="datetime1">
              <a:rPr lang="en-US" smtClean="0"/>
              <a:t>3/3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43AED4-459E-4D62-B83A-B0B69212F82C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  <p:timing/>
</p:sldLayout>
</file>

<file path=ppt/slideLayouts/slideLayout10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7" name="Rectangle 6"/>
          <p:cNvSpPr/>
          <p:nvPr userDrawn="1"/>
        </p:nvSpPr>
        <p:spPr>
          <a:xfrm>
            <a:off x="0" y="6101970"/>
            <a:ext cx="12192001" cy="768096"/>
          </a:xfrm>
          <a:prstGeom prst="rect">
            <a:avLst/>
          </a:prstGeom>
          <a:solidFill>
            <a:srgbClr val="2D3D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268" y="6248540"/>
            <a:ext cx="3432432" cy="4572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218AA2F-4873-7AE5-9BD4-F13EF36496D1}"/>
              </a:ext>
            </a:extLst>
          </p:cNvPr>
          <p:cNvSpPr txBox="1"/>
          <p:nvPr userDrawn="1"/>
        </p:nvSpPr>
        <p:spPr>
          <a:xfrm>
            <a:off x="5295208" y="6367954"/>
            <a:ext cx="21197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PEN-FIN-INFO 1-</a:t>
            </a:r>
            <a:fld id="{5AE2A367-7C4D-47C4-A225-C8A9BA8BB9DD}" type="slidenum">
              <a:rPr lang="en-US" sz="120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‹#›</a:t>
            </a:fld>
            <a:endParaRPr lang="en-US" sz="120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2AC47B8-C663-77AE-E5B1-90774F73CC32}"/>
              </a:ext>
            </a:extLst>
          </p:cNvPr>
          <p:cNvSpPr txBox="1"/>
          <p:nvPr userDrawn="1"/>
        </p:nvSpPr>
        <p:spPr>
          <a:xfrm>
            <a:off x="10730345" y="6244844"/>
            <a:ext cx="13799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pril 20, 2023</a:t>
            </a:r>
          </a:p>
        </p:txBody>
      </p:sp>
    </p:spTree>
    <p:extLst>
      <p:ext uri="{BB962C8B-B14F-4D97-AF65-F5344CB8AC3E}">
        <p14:creationId xmlns:p14="http://schemas.microsoft.com/office/powerpoint/2010/main" val="1875751897"/>
      </p:ext>
    </p:extLst>
  </p:cSld>
  <p:clrMapOvr>
    <a:masterClrMapping/>
  </p:clrMapOvr>
  <p:transition/>
  <p:timing/>
</p:sldLayout>
</file>

<file path=ppt/slideLayouts/slideLayout2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type="picTx">
  <p:cSld name="Picture with Caption">
    <p:spTree>
      <p:nvGrpSpPr>
        <p:cNvPr id="1" name="Shape 102"/>
        <p:cNvGrpSpPr/>
        <p:nvPr/>
      </p:nvGrpSpPr>
      <p:grpSpPr>
        <a:xfrm>
          <a:off x="0" y="0"/>
          <a:ext cx="0" cy="0"/>
        </a:xfrm>
      </p:grpSpPr>
      <p:sp>
        <p:nvSpPr>
          <p:cNvPr id="103" name="Shape 103"/>
          <p:cNvSpPr/>
          <p:nvPr/>
        </p:nvSpPr>
        <p:spPr>
          <a:xfrm>
            <a:off x="0" y="6093092"/>
            <a:ext cx="12192000" cy="768096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ct val="0"/>
              </a:spcBef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" name="Shape 104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ctr" rtl="0">
              <a:lnSpc>
                <a:spcPct val="90000"/>
              </a:lnSpc>
              <a:spcBef>
                <a:spcPct val="0"/>
              </a:spcBef>
              <a:buClr>
                <a:schemeClr val="dk2"/>
              </a:buClr>
              <a:buFont typeface="Arial"/>
              <a:buNone/>
              <a:defRPr sz="3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ct val="0"/>
              </a:spcBef>
              <a:buNone/>
              <a:defRPr sz="1800"/>
            </a:lvl2pPr>
            <a:lvl3pPr lvl="2" indent="0">
              <a:spcBef>
                <a:spcPct val="0"/>
              </a:spcBef>
              <a:buNone/>
              <a:defRPr sz="1800"/>
            </a:lvl3pPr>
            <a:lvl4pPr lvl="3" indent="0">
              <a:spcBef>
                <a:spcPct val="0"/>
              </a:spcBef>
              <a:buNone/>
              <a:defRPr sz="1800"/>
            </a:lvl4pPr>
            <a:lvl5pPr lvl="4" indent="0">
              <a:spcBef>
                <a:spcPct val="0"/>
              </a:spcBef>
              <a:buNone/>
              <a:defRPr sz="1800"/>
            </a:lvl5pPr>
            <a:lvl6pPr lvl="5" indent="0">
              <a:spcBef>
                <a:spcPct val="0"/>
              </a:spcBef>
              <a:buNone/>
              <a:defRPr sz="1800"/>
            </a:lvl6pPr>
            <a:lvl7pPr lvl="6" indent="0">
              <a:spcBef>
                <a:spcPct val="0"/>
              </a:spcBef>
              <a:buNone/>
              <a:defRPr sz="1800"/>
            </a:lvl7pPr>
            <a:lvl8pPr lvl="7" indent="0">
              <a:spcBef>
                <a:spcPct val="0"/>
              </a:spcBef>
              <a:buNone/>
              <a:defRPr sz="1800"/>
            </a:lvl8pPr>
            <a:lvl9pPr lvl="8" indent="0">
              <a:spcBef>
                <a:spcPct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05" name="Shape 105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buClr>
                <a:schemeClr val="dk2"/>
              </a:buClr>
              <a:buFont typeface="Noto Sans Symbols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Font typeface="Courier New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Font typeface="Noto Sans Symbols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Font typeface="Courier New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Font typeface="Noto Sans Symbols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6" name="Shape 106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buClr>
                <a:schemeClr val="dk2"/>
              </a:buClr>
              <a:buFont typeface="Noto Sans Symbols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Font typeface="Courier New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Font typeface="Noto Sans Symbols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Font typeface="Courier New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Font typeface="Noto Sans Symbols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10" name="Shape 110"/>
          <p:cNvPicPr preferRelativeResize="0"/>
          <p:nvPr/>
        </p:nvPicPr>
        <p:blipFill>
          <a:blip r:embed="rId1">
            <a:alphaModFix/>
          </a:blip>
          <a:stretch>
            <a:fillRect/>
          </a:stretch>
        </p:blipFill>
        <p:spPr>
          <a:xfrm>
            <a:off x="872268" y="6248540"/>
            <a:ext cx="3425853" cy="45681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2AD5CE-E7F6-4DF6-8846-E39023880873}" type="datetime1">
              <a:rPr lang="en-US" smtClean="0"/>
              <a:t>3/3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43AED4-459E-4D62-B83A-B0B69212F82C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  <p:timing/>
</p:sldLayout>
</file>

<file path=ppt/slideLayouts/slideLayout3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type="vertTx">
  <p:cSld name="Title and Vertical Text">
    <p:spTree>
      <p:nvGrpSpPr>
        <p:cNvPr id="1" name="Shape 111"/>
        <p:cNvGrpSpPr/>
        <p:nvPr/>
      </p:nvGrpSpPr>
      <p:grpSpPr>
        <a:xfrm>
          <a:off x="0" y="0"/>
          <a:ext cx="0" cy="0"/>
        </a:xfrm>
      </p:grpSpPr>
      <p:sp>
        <p:nvSpPr>
          <p:cNvPr id="112" name="Shape 112"/>
          <p:cNvSpPr/>
          <p:nvPr/>
        </p:nvSpPr>
        <p:spPr>
          <a:xfrm>
            <a:off x="0" y="6093092"/>
            <a:ext cx="12192000" cy="768096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ct val="0"/>
              </a:spcBef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" name="Shape 113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90000"/>
              </a:lnSpc>
              <a:spcBef>
                <a:spcPct val="0"/>
              </a:spcBef>
              <a:buClr>
                <a:schemeClr val="dk2"/>
              </a:buClr>
              <a:buFont typeface="Arial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ct val="0"/>
              </a:spcBef>
              <a:buNone/>
              <a:defRPr sz="1800"/>
            </a:lvl2pPr>
            <a:lvl3pPr lvl="2" indent="0">
              <a:spcBef>
                <a:spcPct val="0"/>
              </a:spcBef>
              <a:buNone/>
              <a:defRPr sz="1800"/>
            </a:lvl3pPr>
            <a:lvl4pPr lvl="3" indent="0">
              <a:spcBef>
                <a:spcPct val="0"/>
              </a:spcBef>
              <a:buNone/>
              <a:defRPr sz="1800"/>
            </a:lvl4pPr>
            <a:lvl5pPr lvl="4" indent="0">
              <a:spcBef>
                <a:spcPct val="0"/>
              </a:spcBef>
              <a:buNone/>
              <a:defRPr sz="1800"/>
            </a:lvl5pPr>
            <a:lvl6pPr lvl="5" indent="0">
              <a:spcBef>
                <a:spcPct val="0"/>
              </a:spcBef>
              <a:buNone/>
              <a:defRPr sz="1800"/>
            </a:lvl6pPr>
            <a:lvl7pPr lvl="6" indent="0">
              <a:spcBef>
                <a:spcPct val="0"/>
              </a:spcBef>
              <a:buNone/>
              <a:defRPr sz="1800"/>
            </a:lvl7pPr>
            <a:lvl8pPr lvl="7" indent="0">
              <a:spcBef>
                <a:spcPct val="0"/>
              </a:spcBef>
              <a:buNone/>
              <a:defRPr sz="1800"/>
            </a:lvl8pPr>
            <a:lvl9pPr lvl="8" indent="0">
              <a:spcBef>
                <a:spcPct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14" name="Shape 114"/>
          <p:cNvSpPr txBox="1">
            <a:spLocks noGrp="1"/>
          </p:cNvSpPr>
          <p:nvPr>
            <p:ph type="body" idx="1"/>
          </p:nvPr>
        </p:nvSpPr>
        <p:spPr>
          <a:xfrm rot="5400000">
            <a:off x="4038749" y="-1374924"/>
            <a:ext cx="4114502" cy="10515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228600" marR="0" lvl="0" indent="-50800" algn="l" rtl="0">
              <a:lnSpc>
                <a:spcPct val="90000"/>
              </a:lnSpc>
              <a:spcBef>
                <a:spcPts val="1000"/>
              </a:spcBef>
              <a:buClr>
                <a:schemeClr val="dk2"/>
              </a:buClr>
              <a:buSzTx/>
              <a:buFont typeface="Noto Sans Symbols"/>
              <a:buChar char="▪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85800" marR="0" lvl="1" indent="-7620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SzTx/>
              <a:buFont typeface="Courier New"/>
              <a:buChar char="o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143000" marR="0" lvl="2" indent="-10160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SzTx/>
              <a:buFont typeface="Noto Sans Symbols"/>
              <a:buChar char="▪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600200" marR="0" lvl="3" indent="-11430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SzTx/>
              <a:buFont typeface="Courier New"/>
              <a:buChar char="o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057400" marR="0" lvl="4" indent="-11430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SzTx/>
              <a:buFont typeface="Noto Sans Symbols"/>
              <a:buChar char="▪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Tx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Tx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Tx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Tx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118" name="Shape 118"/>
          <p:cNvPicPr preferRelativeResize="0"/>
          <p:nvPr/>
        </p:nvPicPr>
        <p:blipFill>
          <a:blip r:embed="rId1">
            <a:alphaModFix/>
          </a:blip>
          <a:stretch>
            <a:fillRect/>
          </a:stretch>
        </p:blipFill>
        <p:spPr>
          <a:xfrm>
            <a:off x="872268" y="6248540"/>
            <a:ext cx="3425853" cy="45681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C657E2-EC60-4C8F-B524-F85306BDDF2A}" type="datetime1">
              <a:rPr lang="en-US" smtClean="0"/>
              <a:t>3/3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43AED4-459E-4D62-B83A-B0B69212F82C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  <p:timing/>
</p:sldLayout>
</file>

<file path=ppt/slideLayouts/slideLayout4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type="vertTitleAndTx">
  <p:cSld name="Vertical Title and Text">
    <p:spTree>
      <p:nvGrpSpPr>
        <p:cNvPr id="1" name="Shape 119"/>
        <p:cNvGrpSpPr/>
        <p:nvPr/>
      </p:nvGrpSpPr>
      <p:grpSpPr>
        <a:xfrm>
          <a:off x="0" y="0"/>
          <a:ext cx="0" cy="0"/>
        </a:xfrm>
      </p:grpSpPr>
      <p:sp>
        <p:nvSpPr>
          <p:cNvPr id="120" name="Shape 120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90000"/>
              </a:lnSpc>
              <a:spcBef>
                <a:spcPct val="0"/>
              </a:spcBef>
              <a:buClr>
                <a:schemeClr val="dk2"/>
              </a:buClr>
              <a:buFont typeface="Arial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ct val="0"/>
              </a:spcBef>
              <a:buNone/>
              <a:defRPr sz="1800"/>
            </a:lvl2pPr>
            <a:lvl3pPr lvl="2" indent="0">
              <a:spcBef>
                <a:spcPct val="0"/>
              </a:spcBef>
              <a:buNone/>
              <a:defRPr sz="1800"/>
            </a:lvl3pPr>
            <a:lvl4pPr lvl="3" indent="0">
              <a:spcBef>
                <a:spcPct val="0"/>
              </a:spcBef>
              <a:buNone/>
              <a:defRPr sz="1800"/>
            </a:lvl4pPr>
            <a:lvl5pPr lvl="4" indent="0">
              <a:spcBef>
                <a:spcPct val="0"/>
              </a:spcBef>
              <a:buNone/>
              <a:defRPr sz="1800"/>
            </a:lvl5pPr>
            <a:lvl6pPr lvl="5" indent="0">
              <a:spcBef>
                <a:spcPct val="0"/>
              </a:spcBef>
              <a:buNone/>
              <a:defRPr sz="1800"/>
            </a:lvl6pPr>
            <a:lvl7pPr lvl="6" indent="0">
              <a:spcBef>
                <a:spcPct val="0"/>
              </a:spcBef>
              <a:buNone/>
              <a:defRPr sz="1800"/>
            </a:lvl7pPr>
            <a:lvl8pPr lvl="7" indent="0">
              <a:spcBef>
                <a:spcPct val="0"/>
              </a:spcBef>
              <a:buNone/>
              <a:defRPr sz="1800"/>
            </a:lvl8pPr>
            <a:lvl9pPr lvl="8" indent="0">
              <a:spcBef>
                <a:spcPct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21" name="Shape 121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228600" marR="0" lvl="0" indent="-50800" algn="l" rtl="0">
              <a:lnSpc>
                <a:spcPct val="90000"/>
              </a:lnSpc>
              <a:spcBef>
                <a:spcPts val="1000"/>
              </a:spcBef>
              <a:buClr>
                <a:schemeClr val="dk2"/>
              </a:buClr>
              <a:buSzTx/>
              <a:buFont typeface="Noto Sans Symbols"/>
              <a:buChar char="▪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85800" marR="0" lvl="1" indent="-7620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SzTx/>
              <a:buFont typeface="Courier New"/>
              <a:buChar char="o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143000" marR="0" lvl="2" indent="-10160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SzTx/>
              <a:buFont typeface="Noto Sans Symbols"/>
              <a:buChar char="▪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600200" marR="0" lvl="3" indent="-11430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SzTx/>
              <a:buFont typeface="Courier New"/>
              <a:buChar char="o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057400" marR="0" lvl="4" indent="-11430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SzTx/>
              <a:buFont typeface="Noto Sans Symbols"/>
              <a:buChar char="▪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Tx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Tx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Tx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Tx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2" name="Shape 122"/>
          <p:cNvSpPr/>
          <p:nvPr/>
        </p:nvSpPr>
        <p:spPr>
          <a:xfrm rot="5400000">
            <a:off x="-3159012" y="3045302"/>
            <a:ext cx="7086122" cy="768096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ct val="0"/>
              </a:spcBef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23" name="Shape 123"/>
          <p:cNvPicPr preferRelativeResize="0"/>
          <p:nvPr/>
        </p:nvPicPr>
        <p:blipFill>
          <a:blip r:embed="rId1">
            <a:alphaModFix/>
          </a:blip>
          <a:stretch>
            <a:fillRect/>
          </a:stretch>
        </p:blipFill>
        <p:spPr>
          <a:xfrm rot="5400000">
            <a:off x="-890242" y="1578450"/>
            <a:ext cx="2737731" cy="36558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06911-12E0-4513-B046-AD6D2E57EC15}" type="datetime1">
              <a:rPr lang="en-US" smtClean="0"/>
              <a:t>3/3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43AED4-459E-4D62-B83A-B0B69212F82C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ransition/>
  <p:timing/>
</p:sldLayout>
</file>

<file path=ppt/slideLayouts/slideLayout5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preserve="1" userDrawn="1">
  <p:cSld name="1_Feature Program Layout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11" name="Rectangle 10"/>
          <p:cNvSpPr/>
          <p:nvPr userDrawn="1"/>
        </p:nvSpPr>
        <p:spPr>
          <a:xfrm>
            <a:off x="0" y="6093092"/>
            <a:ext cx="12192001" cy="76809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kern="1200">
              <a:solidFill>
                <a:prstClr val="white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 flipH="1">
            <a:off x="3068748" y="-18288"/>
            <a:ext cx="0" cy="6126480"/>
          </a:xfrm>
          <a:prstGeom prst="line">
            <a:avLst/>
          </a:prstGeom>
          <a:ln w="762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 flipH="1">
            <a:off x="2956304" y="0"/>
            <a:ext cx="0" cy="6089904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2"/>
          <p:cNvSpPr>
            <a:spLocks noGrp="1"/>
          </p:cNvSpPr>
          <p:nvPr userDrawn="1">
            <p:ph idx="1"/>
          </p:nvPr>
        </p:nvSpPr>
        <p:spPr>
          <a:xfrm>
            <a:off x="3195919" y="365125"/>
            <a:ext cx="8677834" cy="5429620"/>
          </a:xfrm>
        </p:spPr>
        <p:txBody>
          <a:bodyPr lIns="274320" tIns="274320" rIns="274320" bIns="274320" anchor="ctr"/>
          <a:lstStyle>
            <a:lvl1pPr marL="0" indent="0" algn="l">
              <a:buNone/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endParaRPr lang="en-US"/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76447" y="365125"/>
            <a:ext cx="2552687" cy="5429619"/>
          </a:xfrm>
        </p:spPr>
        <p:txBody>
          <a:bodyPr>
            <a:normAutofit/>
          </a:bodyPr>
          <a:lstStyle>
            <a:lvl1pPr algn="r"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268" y="6248540"/>
            <a:ext cx="3432432" cy="45720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5FEDA6-4B52-4C4E-B6E2-E49014362A46}" type="datetime1">
              <a:rPr lang="en-US" smtClean="0"/>
              <a:t>3/3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43AED4-459E-4D62-B83A-B0B69212F82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1766128"/>
      </p:ext>
    </p:extLst>
  </p:cSld>
  <p:clrMapOvr>
    <a:masterClrMapping/>
  </p:clrMapOvr>
  <p:transition/>
  <p:timing/>
</p:sldLayout>
</file>

<file path=ppt/slideLayouts/slideLayout6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preserve="1" userDrawn="1">
  <p:cSld name="1_Closing Slide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A20529-CC42-4994-B00B-C974AAF794EB}" type="datetime1">
              <a:rPr lang="en-US" smtClean="0"/>
              <a:t>3/31/2023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43AED4-459E-4D62-B83A-B0B69212F82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1737767"/>
      </p:ext>
    </p:extLst>
  </p:cSld>
  <p:clrMapOvr>
    <a:masterClrMapping/>
  </p:clrMapOvr>
  <p:transition/>
  <p:timing/>
</p:sldLayout>
</file>

<file path=ppt/slideLayouts/slideLayout7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preserve="1" userDrawn="1">
  <p:cSld name="2_Feature Program Layout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11" name="Rectangle 10"/>
          <p:cNvSpPr/>
          <p:nvPr userDrawn="1"/>
        </p:nvSpPr>
        <p:spPr>
          <a:xfrm>
            <a:off x="0" y="6093092"/>
            <a:ext cx="12192001" cy="76809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kern="1200">
              <a:solidFill>
                <a:prstClr val="white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 flipH="1">
            <a:off x="3068748" y="-18288"/>
            <a:ext cx="0" cy="6126480"/>
          </a:xfrm>
          <a:prstGeom prst="line">
            <a:avLst/>
          </a:prstGeom>
          <a:ln w="762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 flipH="1">
            <a:off x="2956304" y="0"/>
            <a:ext cx="0" cy="6089904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2"/>
          <p:cNvSpPr>
            <a:spLocks noGrp="1"/>
          </p:cNvSpPr>
          <p:nvPr userDrawn="1">
            <p:ph idx="1"/>
          </p:nvPr>
        </p:nvSpPr>
        <p:spPr>
          <a:xfrm>
            <a:off x="3195919" y="365125"/>
            <a:ext cx="8677834" cy="5429620"/>
          </a:xfrm>
        </p:spPr>
        <p:txBody>
          <a:bodyPr lIns="274320" tIns="274320" rIns="274320" bIns="274320" anchor="ctr"/>
          <a:lstStyle>
            <a:lvl1pPr marL="0" indent="0" algn="l">
              <a:buNone/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endParaRPr lang="en-US"/>
          </a:p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76447" y="365125"/>
            <a:ext cx="2552687" cy="5429619"/>
          </a:xfrm>
        </p:spPr>
        <p:txBody>
          <a:bodyPr>
            <a:normAutofit/>
          </a:bodyPr>
          <a:lstStyle>
            <a:lvl1pPr algn="r"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268" y="6248540"/>
            <a:ext cx="3432432" cy="45720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C54DBE-E303-40DC-AED9-0111A9FBCAB8}" type="datetime1">
              <a:rPr lang="en-US" smtClean="0"/>
              <a:t>3/3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43AED4-459E-4D62-B83A-B0B69212F82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8104114"/>
      </p:ext>
    </p:extLst>
  </p:cSld>
  <p:clrMapOvr>
    <a:masterClrMapping/>
  </p:clrMapOvr>
  <p:transition/>
  <p:timing/>
</p:sldLayout>
</file>

<file path=ppt/slideLayouts/slideLayout8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preserve="1" userDrawn="1">
  <p:cSld name="2_Closing Slide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DB7D6C-064C-4438-8653-9F73460F8672}" type="datetime1">
              <a:rPr lang="en-US" smtClean="0"/>
              <a:t>3/31/2023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43AED4-459E-4D62-B83A-B0B69212F82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8133980"/>
      </p:ext>
    </p:extLst>
  </p:cSld>
  <p:clrMapOvr>
    <a:masterClrMapping/>
  </p:clrMapOvr>
  <p:transition/>
  <p:timing/>
</p:sldLayout>
</file>

<file path=ppt/slideLayouts/slideLayout9.xml><?xml version="1.0" encoding="utf-8"?>
<p:sldLayout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 type="title">
  <p:cSld name="Title Slide">
    <p:spTree>
      <p:nvGrpSpPr>
        <p:cNvPr id="1" name="Shape 16"/>
        <p:cNvGrpSpPr/>
        <p:nvPr/>
      </p:nvGrpSpPr>
      <p:grpSpPr>
        <a:xfrm>
          <a:off x="0" y="0"/>
          <a:ext cx="0" cy="0"/>
        </a:xfrm>
      </p:grpSpPr>
      <p:pic>
        <p:nvPicPr>
          <p:cNvPr id="17" name="Shape 17"/>
          <p:cNvPicPr preferRelativeResize="0"/>
          <p:nvPr/>
        </p:nvPicPr>
        <p:blipFill>
          <a:blip r:embed="rId1">
            <a:alphaModFix/>
          </a:blip>
          <a:stretch>
            <a:fillRect/>
          </a:stretch>
        </p:blipFill>
        <p:spPr>
          <a:xfrm>
            <a:off x="0" y="13447"/>
            <a:ext cx="12192000" cy="6844553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Shape 18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ctr" rtl="0">
              <a:lnSpc>
                <a:spcPct val="90000"/>
              </a:lnSpc>
              <a:spcBef>
                <a:spcPct val="0"/>
              </a:spcBef>
              <a:buClr>
                <a:schemeClr val="dk2"/>
              </a:buClr>
              <a:buFont typeface="Arial"/>
              <a:buNone/>
              <a:defRPr sz="6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ct val="0"/>
              </a:spcBef>
              <a:buNone/>
              <a:defRPr sz="1800"/>
            </a:lvl2pPr>
            <a:lvl3pPr lvl="2" indent="0">
              <a:spcBef>
                <a:spcPct val="0"/>
              </a:spcBef>
              <a:buNone/>
              <a:defRPr sz="1800"/>
            </a:lvl3pPr>
            <a:lvl4pPr lvl="3" indent="0">
              <a:spcBef>
                <a:spcPct val="0"/>
              </a:spcBef>
              <a:buNone/>
              <a:defRPr sz="1800"/>
            </a:lvl4pPr>
            <a:lvl5pPr lvl="4" indent="0">
              <a:spcBef>
                <a:spcPct val="0"/>
              </a:spcBef>
              <a:buNone/>
              <a:defRPr sz="1800"/>
            </a:lvl5pPr>
            <a:lvl6pPr lvl="5" indent="0">
              <a:spcBef>
                <a:spcPct val="0"/>
              </a:spcBef>
              <a:buNone/>
              <a:defRPr sz="1800"/>
            </a:lvl6pPr>
            <a:lvl7pPr lvl="6" indent="0">
              <a:spcBef>
                <a:spcPct val="0"/>
              </a:spcBef>
              <a:buNone/>
              <a:defRPr sz="1800"/>
            </a:lvl7pPr>
            <a:lvl8pPr lvl="7" indent="0">
              <a:spcBef>
                <a:spcPct val="0"/>
              </a:spcBef>
              <a:buNone/>
              <a:defRPr sz="1800"/>
            </a:lvl8pPr>
            <a:lvl9pPr lvl="8" indent="0">
              <a:spcBef>
                <a:spcPct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ctr" rtl="0">
              <a:lnSpc>
                <a:spcPct val="90000"/>
              </a:lnSpc>
              <a:spcBef>
                <a:spcPts val="1000"/>
              </a:spcBef>
              <a:buClr>
                <a:schemeClr val="dk2"/>
              </a:buClr>
              <a:buFont typeface="Noto Sans Symbols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ctr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Font typeface="Courier New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ctr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Font typeface="Noto Sans Symbols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ctr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Font typeface="Courier New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ctr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Font typeface="Noto Sans Symbols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ctr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ctr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ctr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ctr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298341F-4CE5-00F8-FC17-FA331388876A}"/>
              </a:ext>
            </a:extLst>
          </p:cNvPr>
          <p:cNvSpPr txBox="1"/>
          <p:nvPr userDrawn="1"/>
        </p:nvSpPr>
        <p:spPr>
          <a:xfrm>
            <a:off x="5295208" y="6367954"/>
            <a:ext cx="21197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PEN-FIN-INFO 1-</a:t>
            </a:r>
            <a:fld id="{5AE2A367-7C4D-47C4-A225-C8A9BA8BB9DD}" type="slidenum">
              <a:rPr lang="en-US" sz="120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9</a:t>
            </a:fld>
            <a:endParaRPr lang="en-US" sz="120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DB60F9A-A2A3-7CFE-A2B2-E687890C0071}"/>
              </a:ext>
            </a:extLst>
          </p:cNvPr>
          <p:cNvSpPr txBox="1"/>
          <p:nvPr userDrawn="1"/>
        </p:nvSpPr>
        <p:spPr>
          <a:xfrm>
            <a:off x="10730345" y="6244844"/>
            <a:ext cx="13799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pril 20, 2023</a:t>
            </a:r>
          </a:p>
        </p:txBody>
      </p:sp>
    </p:spTree>
    <p:extLst>
      <p:ext uri="{BB962C8B-B14F-4D97-AF65-F5344CB8AC3E}">
        <p14:creationId xmlns:p14="http://schemas.microsoft.com/office/powerpoint/2010/main" val="3780457832"/>
      </p:ext>
    </p:extLst>
  </p:cSld>
  <p:clrMapOvr>
    <a:masterClrMapping/>
  </p:clrMapOvr>
  <p:transition/>
  <p:timing/>
</p:sldLayout>
</file>

<file path=ppt/slideMasters/_rels/slideMaster1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 /><Relationship Id="rId10" Type="http://schemas.openxmlformats.org/officeDocument/2006/relationships/slideLayout" Target="../slideLayouts/slideLayout10.xml" /><Relationship Id="rId11" Type="http://schemas.openxmlformats.org/officeDocument/2006/relationships/tags" Target="../tags/tag1.xml" /><Relationship Id="rId12" Type="http://schemas.openxmlformats.org/officeDocument/2006/relationships/oleObject" Target="../embeddings/oleObject1.bin" TargetMode="Internal" /><Relationship Id="rId13" Type="http://schemas.openxmlformats.org/officeDocument/2006/relationships/image" Target="../media/image5.emf" /><Relationship Id="rId14" Type="http://schemas.openxmlformats.org/officeDocument/2006/relationships/image" Target="../media/image6.emf" /><Relationship Id="rId15" Type="http://schemas.openxmlformats.org/officeDocument/2006/relationships/vmlDrawing" Target="../drawings/vmlDrawing1.vml" /><Relationship Id="rId16" Type="http://schemas.openxmlformats.org/officeDocument/2006/relationships/theme" Target="../theme/theme1.xml" /><Relationship Id="rId2" Type="http://schemas.openxmlformats.org/officeDocument/2006/relationships/slideLayout" Target="../slideLayouts/slideLayout2.xml" /><Relationship Id="rId3" Type="http://schemas.openxmlformats.org/officeDocument/2006/relationships/slideLayout" Target="../slideLayouts/slideLayout3.xml" /><Relationship Id="rId4" Type="http://schemas.openxmlformats.org/officeDocument/2006/relationships/slideLayout" Target="../slideLayouts/slideLayout4.xml" /><Relationship Id="rId5" Type="http://schemas.openxmlformats.org/officeDocument/2006/relationships/slideLayout" Target="../slideLayouts/slideLayout5.xml" /><Relationship Id="rId6" Type="http://schemas.openxmlformats.org/officeDocument/2006/relationships/slideLayout" Target="../slideLayouts/slideLayout6.xml" /><Relationship Id="rId7" Type="http://schemas.openxmlformats.org/officeDocument/2006/relationships/slideLayout" Target="../slideLayouts/slideLayout7.xml" /><Relationship Id="rId8" Type="http://schemas.openxmlformats.org/officeDocument/2006/relationships/slideLayout" Target="../slideLayouts/slideLayout8.xml" /><Relationship Id="rId9" Type="http://schemas.openxmlformats.org/officeDocument/2006/relationships/slideLayout" Target="../slideLayouts/slideLayout9.xml" /></Relationships>
</file>

<file path=ppt/slideMasters/slideMaster1.xml><?xml version="1.0" encoding="utf-8"?>
<p:sldMaster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6165678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>
              <mc:Choice xmlns:v="urn:schemas-microsoft-com:vml" Requires="v">
                <p:oleObj spid="_x0000_s1038" name="think-cell Slide" r:id="rId12" imgW="395" imgH="394" progId="TCLayout.ActiveDocument.1">
                  <p:embed/>
                </p:oleObj>
              </mc:Choice>
              <mc:Fallback>
                <p:oleObj name="think-cell Slide" r:id="rId12" imgW="395" imgH="394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Shape 10"/>
          <p:cNvPicPr preferRelativeResize="0"/>
          <p:nvPr/>
        </p:nvPicPr>
        <p:blipFill>
          <a:blip r:embed="rId14"/>
          <a:stretch>
            <a:fillRect/>
          </a:stretch>
        </p:blipFill>
        <p:spPr>
          <a:xfrm>
            <a:off x="1588" y="1588"/>
            <a:ext cx="1587" cy="1587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pic>
      <p:sp>
        <p:nvSpPr>
          <p:cNvPr id="11" name="Shape 1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ctr" rtl="0">
              <a:lnSpc>
                <a:spcPct val="90000"/>
              </a:lnSpc>
              <a:spcBef>
                <a:spcPct val="0"/>
              </a:spcBef>
              <a:buClr>
                <a:schemeClr val="dk2"/>
              </a:buClr>
              <a:buFont typeface="Arial"/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ct val="0"/>
              </a:spcBef>
              <a:buNone/>
              <a:defRPr sz="1800"/>
            </a:lvl2pPr>
            <a:lvl3pPr lvl="2" indent="0">
              <a:spcBef>
                <a:spcPct val="0"/>
              </a:spcBef>
              <a:buNone/>
              <a:defRPr sz="1800"/>
            </a:lvl3pPr>
            <a:lvl4pPr lvl="3" indent="0">
              <a:spcBef>
                <a:spcPct val="0"/>
              </a:spcBef>
              <a:buNone/>
              <a:defRPr sz="1800"/>
            </a:lvl4pPr>
            <a:lvl5pPr lvl="4" indent="0">
              <a:spcBef>
                <a:spcPct val="0"/>
              </a:spcBef>
              <a:buNone/>
              <a:defRPr sz="1800"/>
            </a:lvl5pPr>
            <a:lvl6pPr lvl="5" indent="0">
              <a:spcBef>
                <a:spcPct val="0"/>
              </a:spcBef>
              <a:buNone/>
              <a:defRPr sz="1800"/>
            </a:lvl6pPr>
            <a:lvl7pPr lvl="6" indent="0">
              <a:spcBef>
                <a:spcPct val="0"/>
              </a:spcBef>
              <a:buNone/>
              <a:defRPr sz="1800"/>
            </a:lvl7pPr>
            <a:lvl8pPr lvl="7" indent="0">
              <a:spcBef>
                <a:spcPct val="0"/>
              </a:spcBef>
              <a:buNone/>
              <a:defRPr sz="1800"/>
            </a:lvl8pPr>
            <a:lvl9pPr lvl="8" indent="0">
              <a:spcBef>
                <a:spcPct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2" name="Shape 1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114502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228600" marR="0" lvl="0" indent="-50800" algn="l" rtl="0">
              <a:lnSpc>
                <a:spcPct val="90000"/>
              </a:lnSpc>
              <a:spcBef>
                <a:spcPts val="1000"/>
              </a:spcBef>
              <a:buClr>
                <a:schemeClr val="dk2"/>
              </a:buClr>
              <a:buSzTx/>
              <a:buFont typeface="Noto Sans Symbols"/>
              <a:buChar char="▪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85800" marR="0" lvl="1" indent="-7620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SzTx/>
              <a:buFont typeface="Courier New"/>
              <a:buChar char="o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143000" marR="0" lvl="2" indent="-10160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SzTx/>
              <a:buFont typeface="Noto Sans Symbols"/>
              <a:buChar char="▪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600200" marR="0" lvl="3" indent="-11430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SzTx/>
              <a:buFont typeface="Courier New"/>
              <a:buChar char="o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057400" marR="0" lvl="4" indent="-114300" algn="l" rtl="0">
              <a:lnSpc>
                <a:spcPct val="90000"/>
              </a:lnSpc>
              <a:spcBef>
                <a:spcPts val="500"/>
              </a:spcBef>
              <a:buClr>
                <a:schemeClr val="dk2"/>
              </a:buClr>
              <a:buSzTx/>
              <a:buFont typeface="Noto Sans Symbols"/>
              <a:buChar char="▪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Tx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Tx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Tx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Tx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635612-7138-4FAC-B3C2-E08FE5D389CA}" type="datetime1">
              <a:rPr lang="en-US" smtClean="0"/>
              <a:t>3/31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43AED4-459E-4D62-B83A-B0B69212F82C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  <p:sldLayoutId id="2147483699" r:id="rId5"/>
    <p:sldLayoutId id="2147483710" r:id="rId6"/>
    <p:sldLayoutId id="2147483730" r:id="rId7"/>
    <p:sldLayoutId id="2147483741" r:id="rId8"/>
    <p:sldLayoutId id="2147483857" r:id="rId9"/>
    <p:sldLayoutId id="2147483859" r:id="rId10"/>
  </p:sldLayoutIdLst>
  <p:transition/>
  <p:timing/>
  <p:hf hdr="0" ftr="0" dt="0"/>
  <p:txStyles>
    <p:titleStyle>
      <a:defPPr marR="0" lvl="0" algn="l" rtl="0">
        <a:lnSpc>
          <a:spcPct val="100000"/>
        </a:lnSpc>
        <a:spcBef>
          <a:spcPct val="0"/>
        </a:spcBef>
        <a:spcAft>
          <a:spcPct val="0"/>
        </a:spcAft>
      </a:defPPr>
      <a:lvl1pPr marR="0" lvl="0" algn="l" rtl="0">
        <a:lnSpc>
          <a:spcPct val="100000"/>
        </a:lnSpc>
        <a:spcBef>
          <a:spcPct val="0"/>
        </a:spcBef>
        <a:spcAft>
          <a:spcPct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ct val="0"/>
        </a:spcBef>
        <a:spcAft>
          <a:spcPct val="0"/>
        </a:spcAft>
      </a:defPPr>
      <a:lvl1pPr marR="0" lvl="0" algn="l" rtl="0">
        <a:lnSpc>
          <a:spcPct val="100000"/>
        </a:lnSpc>
        <a:spcBef>
          <a:spcPct val="0"/>
        </a:spcBef>
        <a:spcAft>
          <a:spcPct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ct val="0"/>
        </a:spcBef>
        <a:spcAft>
          <a:spcPct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ct val="0"/>
        </a:spcBef>
        <a:spcAft>
          <a:spcPct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ct val="0"/>
        </a:spcBef>
        <a:spcAft>
          <a:spcPct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ct val="0"/>
        </a:spcBef>
        <a:spcAft>
          <a:spcPct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ct val="0"/>
        </a:spcBef>
        <a:spcAft>
          <a:spcPct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ct val="0"/>
        </a:spcBef>
        <a:spcAft>
          <a:spcPct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ct val="0"/>
        </a:spcBef>
        <a:spcAft>
          <a:spcPct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ct val="0"/>
        </a:spcBef>
        <a:spcAft>
          <a:spcPct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ct val="0"/>
        </a:spcBef>
        <a:spcAft>
          <a:spcPct val="0"/>
        </a:spcAft>
      </a:defPPr>
      <a:lvl1pPr marR="0" lvl="0" algn="l" rtl="0">
        <a:lnSpc>
          <a:spcPct val="100000"/>
        </a:lnSpc>
        <a:spcBef>
          <a:spcPct val="0"/>
        </a:spcBef>
        <a:spcAft>
          <a:spcPct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ct val="0"/>
        </a:spcBef>
        <a:spcAft>
          <a:spcPct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ct val="0"/>
        </a:spcBef>
        <a:spcAft>
          <a:spcPct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ct val="0"/>
        </a:spcBef>
        <a:spcAft>
          <a:spcPct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ct val="0"/>
        </a:spcBef>
        <a:spcAft>
          <a:spcPct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ct val="0"/>
        </a:spcBef>
        <a:spcAft>
          <a:spcPct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ct val="0"/>
        </a:spcBef>
        <a:spcAft>
          <a:spcPct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ct val="0"/>
        </a:spcBef>
        <a:spcAft>
          <a:spcPct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ct val="0"/>
        </a:spcBef>
        <a:spcAft>
          <a:spcPct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9.xml" /></Relationships>
</file>

<file path=ppt/slides/_rels/slide2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0.xml" /><Relationship Id="rId2" Type="http://schemas.openxmlformats.org/officeDocument/2006/relationships/notesSlide" Target="../notesSlides/notesSlide1.xml" /></Relationships>
</file>

<file path=ppt/slides/_rels/slide3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0.xml" /><Relationship Id="rId2" Type="http://schemas.openxmlformats.org/officeDocument/2006/relationships/notesSlide" Target="../notesSlides/notesSlide2.xml" /><Relationship Id="rId3" Type="http://schemas.openxmlformats.org/officeDocument/2006/relationships/chart" Target="../charts/chart1.xml" /></Relationships>
</file>

<file path=ppt/slides/_rels/slide4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0.xml" /><Relationship Id="rId2" Type="http://schemas.openxmlformats.org/officeDocument/2006/relationships/notesSlide" Target="../notesSlides/notesSlide3.xml" /><Relationship Id="rId3" Type="http://schemas.openxmlformats.org/officeDocument/2006/relationships/chart" Target="../charts/chart2.xml" /><Relationship Id="rId4" Type="http://schemas.openxmlformats.org/officeDocument/2006/relationships/chart" Target="../charts/chart3.xml" /></Relationships>
</file>

<file path=ppt/slides/_rels/slide5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0.xml" /></Relationships>
</file>

<file path=ppt/slides/_rels/slide6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0.xml" /><Relationship Id="rId2" Type="http://schemas.openxmlformats.org/officeDocument/2006/relationships/notesSlide" Target="../notesSlides/notesSlide4.xml" /></Relationships>
</file>

<file path=ppt/slides/slide1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 name="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6B5D0C-D683-4779-A1FC-8D908C35AD2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999626"/>
            <a:ext cx="9144000" cy="3435498"/>
          </a:xfrm>
        </p:spPr>
        <p:txBody>
          <a:bodyPr/>
          <a:lstStyle/>
          <a:p>
            <a:r>
              <a:rPr lang="en-US"/>
              <a:t>FY 2024 System Budget Updat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CBFC51-CACC-4CA5-8B26-DB780A6238B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D643AED4-459E-4D62-B83A-B0B69212F82C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8435652"/>
      </p:ext>
    </p:extLst>
  </p:cSld>
  <p:clrMapOvr>
    <a:masterClrMapping/>
  </p:clrMapOvr>
  <p:transition/>
  <p:timing/>
</p:sld>
</file>

<file path=ppt/slides/slide2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 name="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9236C7-841A-690F-A3B6-BB43BF0E03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325563"/>
          </a:xfrm>
        </p:spPr>
        <p:txBody>
          <a:bodyPr/>
          <a:lstStyle/>
          <a:p>
            <a:r>
              <a:rPr lang="en-US"/>
              <a:t>FY 2024 Outloo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7023A5-CA8A-869F-E377-F7BBE3D219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9074" y="1167064"/>
            <a:ext cx="11357810" cy="4773064"/>
          </a:xfrm>
        </p:spPr>
        <p:txBody>
          <a:bodyPr/>
          <a:lstStyle/>
          <a:p>
            <a:pPr marL="177800" indent="0">
              <a:buNone/>
            </a:pPr>
            <a:r>
              <a:rPr lang="en-US" b="1"/>
              <a:t>Moody’s Higher Education Industry Outlook</a:t>
            </a:r>
          </a:p>
          <a:p>
            <a:r>
              <a:rPr lang="en-US"/>
              <a:t>Industry revenue growth expected to lag inflation</a:t>
            </a:r>
          </a:p>
          <a:p>
            <a:r>
              <a:rPr lang="en-US"/>
              <a:t>Industry will experience significant expense pressure as pandemic spending cuts lift</a:t>
            </a:r>
          </a:p>
          <a:p>
            <a:r>
              <a:rPr lang="en-US"/>
              <a:t>Institutions facing weak student demand face greatest pressures</a:t>
            </a:r>
          </a:p>
          <a:p>
            <a:pPr marL="177800" indent="0">
              <a:buNone/>
            </a:pPr>
            <a:r>
              <a:rPr lang="en-US" b="1"/>
              <a:t>University of Missouri</a:t>
            </a:r>
          </a:p>
          <a:p>
            <a:r>
              <a:rPr lang="en-US"/>
              <a:t>High inflation continues to pressure expenses and revenues</a:t>
            </a:r>
          </a:p>
          <a:p>
            <a:r>
              <a:rPr lang="en-US"/>
              <a:t>Enrollment trends stable through spring, will continue to monitor</a:t>
            </a:r>
          </a:p>
          <a:p>
            <a:r>
              <a:rPr lang="en-US"/>
              <a:t>Continued focus on efficiency of resource use</a:t>
            </a:r>
          </a:p>
          <a:p>
            <a:endParaRPr lang="en-US"/>
          </a:p>
          <a:p>
            <a:endParaRPr lang="en-US" sz="2400"/>
          </a:p>
          <a:p>
            <a:endParaRPr lang="en-US" sz="2400"/>
          </a:p>
          <a:p>
            <a:endParaRPr lang="en-US" sz="2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E92003-9155-D88D-35B2-A51B2A481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marR="0" lvl="0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defPPr>
            <a:lvl1pPr marR="0" lvl="0" algn="r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200" b="0" i="0" u="none" strike="noStrike" cap="none">
                <a:solidFill>
                  <a:schemeClr val="tx1">
                    <a:tint val="75000"/>
                  </a:schemeClr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D643AED4-459E-4D62-B83A-B0B69212F82C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28985"/>
      </p:ext>
    </p:extLst>
  </p:cSld>
  <p:clrMapOvr>
    <a:masterClrMapping/>
  </p:clrMapOvr>
  <p:transition/>
  <p:timing/>
</p:sld>
</file>

<file path=ppt/slides/slide3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 name="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1C451D-DA15-9254-0703-C7446196FB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8399"/>
            <a:ext cx="10515600" cy="1325563"/>
          </a:xfrm>
        </p:spPr>
        <p:txBody>
          <a:bodyPr/>
          <a:lstStyle/>
          <a:p>
            <a:r>
              <a:rPr lang="en-US"/>
              <a:t>Tuition &amp; State Support per Degree down 25% Since 2015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A260C266-F443-0ACA-A34F-1D4A171AD94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69251550"/>
              </p:ext>
            </p:extLst>
          </p:nvPr>
        </p:nvGraphicFramePr>
        <p:xfrm>
          <a:off x="838200" y="1227220"/>
          <a:ext cx="10515600" cy="4944979"/>
        </p:xfrm>
        <a:graphic>
          <a:graphicData uri="http://schemas.openxmlformats.org/drawingml/2006/chart">
            <c:chart xmlns:c="http://schemas.openxmlformats.org/drawingml/2006/chart" r:id="rId3"/>
          </a:graphicData>
        </a:graphic>
      </p:graphicFrame>
    </p:spTree>
    <p:extLst>
      <p:ext uri="{BB962C8B-B14F-4D97-AF65-F5344CB8AC3E}">
        <p14:creationId xmlns:p14="http://schemas.microsoft.com/office/powerpoint/2010/main" val="59736488"/>
      </p:ext>
    </p:extLst>
  </p:cSld>
  <p:clrMapOvr>
    <a:masterClrMapping/>
  </p:clrMapOvr>
  <p:transition/>
  <p:timing/>
</p:sld>
</file>

<file path=ppt/slides/slide4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 name="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5A88AF-AF8F-9646-CAFC-90FB385FA5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325563"/>
          </a:xfrm>
        </p:spPr>
        <p:txBody>
          <a:bodyPr/>
          <a:lstStyle/>
          <a:p>
            <a:r>
              <a:rPr lang="en-US"/>
              <a:t>Research Productivity Up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F88B409C-709A-DD98-343A-CAD16D91131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29202115"/>
              </p:ext>
            </p:extLst>
          </p:nvPr>
        </p:nvGraphicFramePr>
        <p:xfrm>
          <a:off x="0" y="1082842"/>
          <a:ext cx="6096000" cy="4957011"/>
        </p:xfrm>
        <a:graphic>
          <a:graphicData uri="http://schemas.openxmlformats.org/drawingml/2006/chart">
            <c:chart xmlns:c="http://schemas.openxmlformats.org/drawingml/2006/chart" r:id="rId3"/>
          </a:graphicData>
        </a:graphic>
      </p:graphicFrame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FEDE67FD-8320-5D16-2B97-CE79B2A3044F}"/>
              </a:ext>
            </a:extLst>
          </p:cNvPr>
          <p:cNvCxnSpPr/>
          <p:nvPr/>
        </p:nvCxnSpPr>
        <p:spPr>
          <a:xfrm flipH="1">
            <a:off x="5816599" y="1576137"/>
            <a:ext cx="0" cy="1852863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Box 14">
            <a:extLst>
              <a:ext uri="{FF2B5EF4-FFF2-40B4-BE49-F238E27FC236}">
                <a16:creationId xmlns:a16="http://schemas.microsoft.com/office/drawing/2014/main" id="{EAF9A47E-E29B-579F-A98A-3A33379777A6}"/>
              </a:ext>
            </a:extLst>
          </p:cNvPr>
          <p:cNvSpPr txBox="1"/>
          <p:nvPr/>
        </p:nvSpPr>
        <p:spPr>
          <a:xfrm>
            <a:off x="4731086" y="2696912"/>
            <a:ext cx="1085513" cy="732088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</a:pPr>
            <a:r>
              <a:rPr lang="en-US" sz="160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55% increase</a:t>
            </a:r>
            <a:endParaRPr lang="en-US" sz="16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69B5B577-ABAD-490A-86FB-1AD1CB36C49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05339538"/>
              </p:ext>
            </p:extLst>
          </p:nvPr>
        </p:nvGraphicFramePr>
        <p:xfrm>
          <a:off x="5991726" y="1108993"/>
          <a:ext cx="5618748" cy="4930859"/>
        </p:xfrm>
        <a:graphic>
          <a:graphicData uri="http://schemas.openxmlformats.org/drawingml/2006/chart">
            <c:chart xmlns:c="http://schemas.openxmlformats.org/drawingml/2006/chart" r:id="rId4"/>
          </a:graphicData>
        </a:graphic>
      </p:graphicFrame>
      <p:sp>
        <p:nvSpPr>
          <p:cNvPr id="10" name="Text Box 14">
            <a:extLst>
              <a:ext uri="{FF2B5EF4-FFF2-40B4-BE49-F238E27FC236}">
                <a16:creationId xmlns:a16="http://schemas.microsoft.com/office/drawing/2014/main" id="{80667F0D-41FA-4D88-8647-AA250E4D53D0}"/>
              </a:ext>
            </a:extLst>
          </p:cNvPr>
          <p:cNvSpPr txBox="1"/>
          <p:nvPr/>
        </p:nvSpPr>
        <p:spPr>
          <a:xfrm>
            <a:off x="10008939" y="4305133"/>
            <a:ext cx="1085513" cy="732088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algn="ctr"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</a:pPr>
            <a:r>
              <a:rPr lang="en-US" sz="160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96% increase</a:t>
            </a:r>
            <a:endParaRPr lang="en-US" sz="16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4C4F3BCA-6450-D64A-2BCE-D302E46EADD2}"/>
              </a:ext>
            </a:extLst>
          </p:cNvPr>
          <p:cNvCxnSpPr/>
          <p:nvPr/>
        </p:nvCxnSpPr>
        <p:spPr>
          <a:xfrm flipH="1">
            <a:off x="11214768" y="1997242"/>
            <a:ext cx="0" cy="2823411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1224220"/>
      </p:ext>
    </p:extLst>
  </p:cSld>
  <p:clrMapOvr>
    <a:masterClrMapping/>
  </p:clrMapOvr>
  <p:transition/>
  <p:timing/>
</p:sld>
</file>

<file path=ppt/slides/slide5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 name="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EA61AB-334D-6F8C-E394-399987FC93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0"/>
            <a:ext cx="10515600" cy="1325563"/>
          </a:xfrm>
        </p:spPr>
        <p:txBody>
          <a:bodyPr/>
          <a:lstStyle/>
          <a:p>
            <a:r>
              <a:rPr lang="en-US"/>
              <a:t>Focus on Student Succes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867670-3E35-69A1-070D-7894B386B2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0789" y="1325564"/>
            <a:ext cx="11053011" cy="4614564"/>
          </a:xfrm>
        </p:spPr>
        <p:txBody>
          <a:bodyPr/>
          <a:lstStyle/>
          <a:p>
            <a:r>
              <a:rPr lang="en-US"/>
              <a:t>Improved Retention, Improved Graduation.</a:t>
            </a:r>
          </a:p>
          <a:p>
            <a:r>
              <a:rPr lang="en-US"/>
              <a:t>The key outcome is getting the degree, graduating on time.</a:t>
            </a:r>
          </a:p>
          <a:p>
            <a:pPr marL="177800" indent="0">
              <a:buNone/>
            </a:pPr>
            <a:r>
              <a:rPr lang="en-US" b="1"/>
              <a:t>Key Initiatives:</a:t>
            </a:r>
            <a:endParaRPr lang="en-US"/>
          </a:p>
          <a:p>
            <a:r>
              <a:rPr lang="en-US"/>
              <a:t>Leveraged technology for early interventions</a:t>
            </a:r>
          </a:p>
          <a:p>
            <a:r>
              <a:rPr lang="en-US"/>
              <a:t>Improved experiential learning towards careers</a:t>
            </a:r>
          </a:p>
          <a:p>
            <a:r>
              <a:rPr lang="en-US"/>
              <a:t>Increased student engagement, leveraging student leaders to help other students</a:t>
            </a:r>
          </a:p>
          <a:p>
            <a:r>
              <a:rPr lang="en-US"/>
              <a:t>Early implementation of open educational resources, saving students $ millions</a:t>
            </a:r>
          </a:p>
        </p:txBody>
      </p:sp>
    </p:spTree>
    <p:extLst>
      <p:ext uri="{BB962C8B-B14F-4D97-AF65-F5344CB8AC3E}">
        <p14:creationId xmlns:p14="http://schemas.microsoft.com/office/powerpoint/2010/main" val="2149989794"/>
      </p:ext>
    </p:extLst>
  </p:cSld>
  <p:clrMapOvr>
    <a:masterClrMapping/>
  </p:clrMapOvr>
  <p:transition/>
  <p:timing/>
</p:sld>
</file>

<file path=ppt/slides/slide6.xml><?xml version="1.0" encoding="utf-8"?>
<p:sld xmlns:a="http://schemas.openxmlformats.org/drawingml/2006/main" xmlns:r="http://schemas.openxmlformats.org/officeDocument/2006/relationships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mc="http://schemas.openxmlformats.org/markup-compatibility/2006" xmlns:p14="http://schemas.microsoft.com/office/powerpoint/2010/main" xmlns:p15="http://schemas.microsoft.com/office/powerpoint/2012/main" xmlns:p159="http://schemas.microsoft.com/office/powerpoint/2015/09/main" xmlns:p="http://schemas.openxmlformats.org/presentationml/2006/main">
  <p:cSld name="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54A6A0-A2AC-4F27-63EF-823C12AFD9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8399"/>
            <a:ext cx="10515600" cy="1325563"/>
          </a:xfrm>
        </p:spPr>
        <p:txBody>
          <a:bodyPr/>
          <a:lstStyle/>
          <a:p>
            <a:r>
              <a:rPr lang="en-US"/>
              <a:t>Cost Reduction Effor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64FB49-055C-8163-ECB3-3F0792C829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2505" y="1165917"/>
            <a:ext cx="11550316" cy="4526165"/>
          </a:xfrm>
        </p:spPr>
        <p:txBody>
          <a:bodyPr/>
          <a:lstStyle/>
          <a:p>
            <a:r>
              <a:rPr lang="en-US"/>
              <a:t>Consolidation of colleges at MU and UMKC</a:t>
            </a:r>
          </a:p>
          <a:p>
            <a:r>
              <a:rPr lang="en-US"/>
              <a:t>Over 90 degree programs discontinued over last decade.</a:t>
            </a:r>
          </a:p>
          <a:p>
            <a:r>
              <a:rPr lang="en-US"/>
              <a:t>Significant space reductions at MU and UMSL</a:t>
            </a:r>
          </a:p>
          <a:p>
            <a:r>
              <a:rPr lang="en-US"/>
              <a:t>Leverage scale of system for bookstores, libraries, and HR/Finance/IT infrastructure</a:t>
            </a:r>
          </a:p>
          <a:p>
            <a:r>
              <a:rPr lang="en-US"/>
              <a:t>Implementation of shared services for Finance and HR transactions</a:t>
            </a:r>
          </a:p>
          <a:p>
            <a:r>
              <a:rPr lang="en-US"/>
              <a:t>Significant benefit changes including retiree medical elimination, pension closure, and leave changes</a:t>
            </a:r>
          </a:p>
          <a:p>
            <a:r>
              <a:rPr lang="en-US"/>
              <a:t>Consolidation of President and Chancellor roles, combination of MU and UM System leadership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122052"/>
      </p:ext>
    </p:extLst>
  </p:cSld>
  <p:clrMapOvr>
    <a:masterClrMapping/>
  </p:clrMapOvr>
  <p:transition/>
  <p:timing/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AS_NET" val="6.0.15"/>
  <p:tag name="AS_OS" val="Unix 5.4.0.1085"/>
  <p:tag name="AS_RELEASE_DATE" val="2022.09.14"/>
  <p:tag name="AS_TITLE" val="Aspose.Slides for .NET5"/>
  <p:tag name="AS_VERSION" val="22.9"/>
  <p:tag name="THINKCELLUNDODONOTDELETE" val="0"/>
</p:tagLst>
</file>

<file path=ppt/theme/theme1.xml><?xml version="1.0" encoding="utf-8"?>
<a:theme xmlns:r="http://schemas.openxmlformats.org/officeDocument/2006/relationships" xmlns:a="http://schemas.openxmlformats.org/drawingml/2006/main" name="Office Theme">
  <a:themeElements>
    <a:clrScheme name="Custom 18">
      <a:dk1>
        <a:srgbClr val="000000"/>
      </a:dk1>
      <a:lt1>
        <a:srgbClr val="FFFFFF"/>
      </a:lt1>
      <a:dk2>
        <a:srgbClr val="2D3D54"/>
      </a:dk2>
      <a:lt2>
        <a:srgbClr val="F1B82D"/>
      </a:lt2>
      <a:accent1>
        <a:srgbClr val="64697C"/>
      </a:accent1>
      <a:accent2>
        <a:srgbClr val="F6CD79"/>
      </a:accent2>
      <a:accent3>
        <a:srgbClr val="B3B2C0"/>
      </a:accent3>
      <a:accent4>
        <a:srgbClr val="F9E2B6"/>
      </a:accent4>
      <a:accent5>
        <a:srgbClr val="DADBE0"/>
      </a:accent5>
      <a:accent6>
        <a:srgbClr val="FDF4E5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</a:theme>
</file>

<file path=ppt/theme/theme2.xml><?xml version="1.0" encoding="utf-8"?>
<a:theme xmlns:r="http://schemas.openxmlformats.org/officeDocument/2006/relationships"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</a:theme>
</file>

<file path=ppt/theme/theme3.xml><?xml version="1.0" encoding="utf-8"?>
<a:theme xmlns:r="http://schemas.openxmlformats.org/officeDocument/2006/relationships"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Calibri Light" panose="020f0302020204030204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Calibri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78225E30314C34A9C7C67FF5237F279" ma:contentTypeVersion="1" ma:contentTypeDescription="Create a new document." ma:contentTypeScope="" ma:versionID="5a4a22ad93d88d9eecb030aaa575a178">
  <xsd:schema xmlns:xsd="http://www.w3.org/2001/XMLSchema" xmlns:xs="http://www.w3.org/2001/XMLSchema" xmlns:p="http://schemas.microsoft.com/office/2006/metadata/properties" xmlns:ns2="e529da04-1e3e-4ce1-8caf-d0e959ac5194" targetNamespace="http://schemas.microsoft.com/office/2006/metadata/properties" ma:root="true" ma:fieldsID="c2064deb3acd1542f6d47454fb1025d9" ns2:_="">
    <xsd:import namespace="e529da04-1e3e-4ce1-8caf-d0e959ac5194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29da04-1e3e-4ce1-8caf-d0e959ac519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EB9737E-30BF-40B3-AF44-DC645F2B117F}"/>
</file>

<file path=customXml/itemProps2.xml><?xml version="1.0" encoding="utf-8"?>
<ds:datastoreItem xmlns:ds="http://schemas.openxmlformats.org/officeDocument/2006/customXml" ds:itemID="{2ACAEB1E-0987-43E9-8B09-25749262C428}"/>
</file>

<file path=customXml/itemProps3.xml><?xml version="1.0" encoding="utf-8"?>
<ds:datastoreItem xmlns:ds="http://schemas.openxmlformats.org/officeDocument/2006/customXml" ds:itemID="{E83741DA-83E0-4E2C-A2D1-3E446DBF1611}"/>
</file>

<file path=docProps/app.xml><?xml version="1.0" encoding="utf-8"?>
<Properties xmlns:vt="http://schemas.openxmlformats.org/officeDocument/2006/docPropsVTypes" xmlns="http://schemas.openxmlformats.org/officeDocument/2006/extended-properties">
  <Company/>
  <PresentationFormat>Widescreen</PresentationFormat>
  <Paragraphs>35</Paragraphs>
  <Slides>6</Slides>
  <Notes>4</Notes>
  <TotalTime>59890</TotalTime>
  <HiddenSlides>0</HiddenSlides>
  <MMClips>0</MMClips>
  <ScaleCrop>0</ScaleCrop>
  <HeadingPairs>
    <vt:vector baseType="variant" size="6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baseType="lpstr" size="13">
      <vt:lpstr>Arial</vt:lpstr>
      <vt:lpstr>Noto Sans Symbols</vt:lpstr>
      <vt:lpstr>Courier New</vt:lpstr>
      <vt:lpstr>Times New Roman</vt:lpstr>
      <vt:lpstr>Calibri</vt:lpstr>
      <vt:lpstr>Calibri Light</vt:lpstr>
      <vt:lpstr>Office Theme</vt:lpstr>
      <vt:lpstr>FY 2024 System Budget Update</vt:lpstr>
      <vt:lpstr>FY 2024 Outlook</vt:lpstr>
      <vt:lpstr>Tuition &amp; State Support per Degree down 25% Since 2015</vt:lpstr>
      <vt:lpstr>Research Productivity Up</vt:lpstr>
      <vt:lpstr>Focus on Student Success</vt:lpstr>
      <vt:lpstr>Cost Reduction Efforts</vt:lpstr>
    </vt:vector>
  </TitlesOfParts>
  <LinksUpToDate>0</LinksUpToDate>
  <SharedDoc>0</SharedDoc>
  <HyperlinksChanged>0</HyperlinksChanged>
  <Application>Aspose.Slides for .NET</Application>
  <AppVersion>22.09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ministrative Performance and Process Improvement Assessment</dc:title>
  <dc:creator>Thomas W Raymond</dc:creator>
  <cp:lastModifiedBy>Church, Karla F.</cp:lastModifiedBy>
  <cp:revision>1561</cp:revision>
  <cp:lastPrinted>2023-02-16T18:10:31Z</cp:lastPrinted>
  <dcterms:modified xsi:type="dcterms:W3CDTF">2023-04-19T15:27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78225E30314C34A9C7C67FF5237F279</vt:lpwstr>
  </property>
</Properties>
</file>